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04" r:id="rId5"/>
    <p:sldMasterId id="2147483792" r:id="rId6"/>
    <p:sldMasterId id="2147483780" r:id="rId7"/>
  </p:sldMasterIdLst>
  <p:notesMasterIdLst>
    <p:notesMasterId r:id="rId40"/>
  </p:notesMasterIdLst>
  <p:handoutMasterIdLst>
    <p:handoutMasterId r:id="rId41"/>
  </p:handoutMasterIdLst>
  <p:sldIdLst>
    <p:sldId id="279" r:id="rId8"/>
    <p:sldId id="344" r:id="rId9"/>
    <p:sldId id="456" r:id="rId10"/>
    <p:sldId id="455" r:id="rId11"/>
    <p:sldId id="457" r:id="rId12"/>
    <p:sldId id="386" r:id="rId13"/>
    <p:sldId id="435" r:id="rId14"/>
    <p:sldId id="434" r:id="rId15"/>
    <p:sldId id="453" r:id="rId16"/>
    <p:sldId id="444" r:id="rId17"/>
    <p:sldId id="443" r:id="rId18"/>
    <p:sldId id="308" r:id="rId19"/>
    <p:sldId id="309" r:id="rId20"/>
    <p:sldId id="349" r:id="rId21"/>
    <p:sldId id="350" r:id="rId22"/>
    <p:sldId id="351" r:id="rId23"/>
    <p:sldId id="352" r:id="rId24"/>
    <p:sldId id="354" r:id="rId25"/>
    <p:sldId id="458" r:id="rId26"/>
    <p:sldId id="459" r:id="rId27"/>
    <p:sldId id="460" r:id="rId28"/>
    <p:sldId id="461" r:id="rId29"/>
    <p:sldId id="462" r:id="rId30"/>
    <p:sldId id="463" r:id="rId31"/>
    <p:sldId id="300" r:id="rId32"/>
    <p:sldId id="452" r:id="rId33"/>
    <p:sldId id="295" r:id="rId34"/>
    <p:sldId id="296" r:id="rId35"/>
    <p:sldId id="297" r:id="rId36"/>
    <p:sldId id="298" r:id="rId37"/>
    <p:sldId id="299" r:id="rId38"/>
    <p:sldId id="342" r:id="rId39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84">
          <p15:clr>
            <a:srgbClr val="A4A3A4"/>
          </p15:clr>
        </p15:guide>
        <p15:guide id="4" orient="horz" pos="3940">
          <p15:clr>
            <a:srgbClr val="A4A3A4"/>
          </p15:clr>
        </p15:guide>
        <p15:guide id="5" orient="horz" pos="288">
          <p15:clr>
            <a:srgbClr val="A4A3A4"/>
          </p15:clr>
        </p15:guide>
        <p15:guide id="6" orient="horz" pos="731">
          <p15:clr>
            <a:srgbClr val="A4A3A4"/>
          </p15:clr>
        </p15:guide>
        <p15:guide id="7" orient="horz" pos="649">
          <p15:clr>
            <a:srgbClr val="A4A3A4"/>
          </p15:clr>
        </p15:guide>
        <p15:guide id="8" orient="horz" pos="1229">
          <p15:clr>
            <a:srgbClr val="A4A3A4"/>
          </p15:clr>
        </p15:guide>
        <p15:guide id="9" orient="horz" pos="1680">
          <p15:clr>
            <a:srgbClr val="A4A3A4"/>
          </p15:clr>
        </p15:guide>
        <p15:guide id="10" orient="horz" pos="4319">
          <p15:clr>
            <a:srgbClr val="A4A3A4"/>
          </p15:clr>
        </p15:guide>
        <p15:guide id="11" pos="304">
          <p15:clr>
            <a:srgbClr val="A4A3A4"/>
          </p15:clr>
        </p15:guide>
        <p15:guide id="12" pos="74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pta, Navdha" initials="GN" lastIdx="1" clrIdx="0">
    <p:extLst>
      <p:ext uri="{19B8F6BF-5375-455C-9EA6-DF929625EA0E}">
        <p15:presenceInfo xmlns:p15="http://schemas.microsoft.com/office/powerpoint/2012/main" userId="S-1-5-21-4039728811-1490228635-3033914438-11100398" providerId="AD"/>
      </p:ext>
    </p:extLst>
  </p:cmAuthor>
  <p:cmAuthor id="2" name="Tiwari, Ravita" initials="TR" lastIdx="1" clrIdx="1">
    <p:extLst>
      <p:ext uri="{19B8F6BF-5375-455C-9EA6-DF929625EA0E}">
        <p15:presenceInfo xmlns:p15="http://schemas.microsoft.com/office/powerpoint/2012/main" userId="S::703163642@genpact.com::56c1ea6b-6493-426f-aee2-6203ba4300b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A3946"/>
    <a:srgbClr val="00588A"/>
    <a:srgbClr val="B5CE1C"/>
    <a:srgbClr val="EBECED"/>
    <a:srgbClr val="073262"/>
    <a:srgbClr val="063161"/>
    <a:srgbClr val="FFFFFF"/>
    <a:srgbClr val="BFC0C1"/>
    <a:srgbClr val="60C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033E29-DC0C-40AD-8660-A9DC4C6FC2ED}" v="1" dt="2019-06-03T12:18:40.42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384"/>
        <p:guide orient="horz" pos="3940"/>
        <p:guide orient="horz" pos="288"/>
        <p:guide orient="horz" pos="731"/>
        <p:guide orient="horz" pos="649"/>
        <p:guide orient="horz" pos="1229"/>
        <p:guide orient="horz" pos="1680"/>
        <p:guide orient="horz" pos="4319"/>
        <p:guide pos="304"/>
        <p:guide pos="7408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wari, Ravita" userId="S::703163642@genpact.com::56c1ea6b-6493-426f-aee2-6203ba4300b4" providerId="AD" clId="Web-{4C033E29-DC0C-40AD-8660-A9DC4C6FC2ED}"/>
    <pc:docChg chg="modSld">
      <pc:chgData name="Tiwari, Ravita" userId="S::703163642@genpact.com::56c1ea6b-6493-426f-aee2-6203ba4300b4" providerId="AD" clId="Web-{4C033E29-DC0C-40AD-8660-A9DC4C6FC2ED}" dt="2019-06-03T12:18:40.425" v="0" actId="1076"/>
      <pc:docMkLst>
        <pc:docMk/>
      </pc:docMkLst>
      <pc:sldChg chg="modSp">
        <pc:chgData name="Tiwari, Ravita" userId="S::703163642@genpact.com::56c1ea6b-6493-426f-aee2-6203ba4300b4" providerId="AD" clId="Web-{4C033E29-DC0C-40AD-8660-A9DC4C6FC2ED}" dt="2019-06-03T12:18:40.425" v="0" actId="1076"/>
        <pc:sldMkLst>
          <pc:docMk/>
          <pc:sldMk cId="3034838508" sldId="296"/>
        </pc:sldMkLst>
        <pc:grpChg chg="mod">
          <ac:chgData name="Tiwari, Ravita" userId="S::703163642@genpact.com::56c1ea6b-6493-426f-aee2-6203ba4300b4" providerId="AD" clId="Web-{4C033E29-DC0C-40AD-8660-A9DC4C6FC2ED}" dt="2019-06-03T12:18:40.425" v="0" actId="1076"/>
          <ac:grpSpMkLst>
            <pc:docMk/>
            <pc:sldMk cId="3034838508" sldId="296"/>
            <ac:grpSpMk id="5" creationId="{00000000-0000-0000-0000-000000000000}"/>
          </ac:grpSpMkLst>
        </pc:grpChg>
      </pc:sldChg>
    </pc:docChg>
  </pc:docChgLst>
  <pc:docChgLst>
    <pc:chgData name="Tiwari, Ravita" userId="S::703163642@genpact.com::56c1ea6b-6493-426f-aee2-6203ba4300b4" providerId="AD" clId="Web-{CA715D9D-4A9A-E109-CFDC-FF532956EF59}"/>
    <pc:docChg chg="">
      <pc:chgData name="Tiwari, Ravita" userId="S::703163642@genpact.com::56c1ea6b-6493-426f-aee2-6203ba4300b4" providerId="AD" clId="Web-{CA715D9D-4A9A-E109-CFDC-FF532956EF59}" dt="2019-06-06T12:47:13.864" v="1"/>
      <pc:docMkLst>
        <pc:docMk/>
      </pc:docMkLst>
      <pc:sldChg chg="addCm delCm">
        <pc:chgData name="Tiwari, Ravita" userId="S::703163642@genpact.com::56c1ea6b-6493-426f-aee2-6203ba4300b4" providerId="AD" clId="Web-{CA715D9D-4A9A-E109-CFDC-FF532956EF59}" dt="2019-06-06T12:47:13.864" v="1"/>
        <pc:sldMkLst>
          <pc:docMk/>
          <pc:sldMk cId="2787349786" sldId="434"/>
        </pc:sldMkLst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7-19T17:45:42.871" idx="1">
    <p:pos x="10" y="10"/>
    <p:text/>
    <p:extLst>
      <p:ext uri="{C676402C-5697-4E1C-873F-D02D1690AC5C}">
        <p15:threadingInfo xmlns:p15="http://schemas.microsoft.com/office/powerpoint/2012/main" timeZoneBias="-33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8B3014-CA2C-4724-A8F6-39162B1EAB9E}" type="doc">
      <dgm:prSet loTypeId="urn:microsoft.com/office/officeart/2005/8/layout/hChevron3" loCatId="process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5141AAE-FC04-40C8-B17E-27266A5E3DFE}">
      <dgm:prSet phldrT="[Text]" custT="1"/>
      <dgm:spPr/>
      <dgm:t>
        <a:bodyPr/>
        <a:lstStyle/>
        <a:p>
          <a:endParaRPr lang="en-US" sz="1600" b="0">
            <a:solidFill>
              <a:schemeClr val="bg1"/>
            </a:solidFill>
          </a:endParaRPr>
        </a:p>
      </dgm:t>
    </dgm:pt>
    <dgm:pt modelId="{D577F57E-3C14-4DA0-8F36-D092A58552A5}" type="parTrans" cxnId="{829231EB-2946-4BD8-A18D-74140AEE47B9}">
      <dgm:prSet/>
      <dgm:spPr/>
      <dgm:t>
        <a:bodyPr/>
        <a:lstStyle/>
        <a:p>
          <a:endParaRPr lang="en-US"/>
        </a:p>
      </dgm:t>
    </dgm:pt>
    <dgm:pt modelId="{02D6DC57-0C0A-4247-B517-9242B4E58570}" type="sibTrans" cxnId="{829231EB-2946-4BD8-A18D-74140AEE47B9}">
      <dgm:prSet/>
      <dgm:spPr/>
      <dgm:t>
        <a:bodyPr/>
        <a:lstStyle/>
        <a:p>
          <a:endParaRPr lang="en-US"/>
        </a:p>
      </dgm:t>
    </dgm:pt>
    <dgm:pt modelId="{A4521417-EC77-4694-A46B-13864D7B531B}">
      <dgm:prSet phldrT="[Text]" custT="1"/>
      <dgm:spPr/>
      <dgm:t>
        <a:bodyPr/>
        <a:lstStyle/>
        <a:p>
          <a:pPr rtl="0"/>
          <a:r>
            <a:rPr kumimoji="0" lang="en-US" altLang="en-US" sz="1600" b="0" i="0" u="none" strike="noStrike" cap="none" normalizeH="0" baseline="0">
              <a:ln/>
              <a:effectLst/>
              <a:ea typeface="Times New Roman" pitchFamily="18" charset="0"/>
              <a:cs typeface="Arial" pitchFamily="34" charset="0"/>
            </a:rPr>
            <a:t>Login to G Social &gt; Tools &gt; My Time Tool</a:t>
          </a:r>
          <a:endParaRPr lang="en-US" sz="1600" b="0"/>
        </a:p>
      </dgm:t>
    </dgm:pt>
    <dgm:pt modelId="{776CE854-B22C-4489-858C-73BF89B06653}" type="parTrans" cxnId="{BD75EC4F-AAA2-46F5-A1B6-D56133C6F981}">
      <dgm:prSet/>
      <dgm:spPr/>
      <dgm:t>
        <a:bodyPr/>
        <a:lstStyle/>
        <a:p>
          <a:endParaRPr lang="en-US"/>
        </a:p>
      </dgm:t>
    </dgm:pt>
    <dgm:pt modelId="{29F15C9E-525D-4D7D-93DF-08CE9FE5943C}" type="sibTrans" cxnId="{BD75EC4F-AAA2-46F5-A1B6-D56133C6F981}">
      <dgm:prSet/>
      <dgm:spPr/>
      <dgm:t>
        <a:bodyPr/>
        <a:lstStyle/>
        <a:p>
          <a:endParaRPr lang="en-US"/>
        </a:p>
      </dgm:t>
    </dgm:pt>
    <dgm:pt modelId="{4EDF65D0-2151-4CD9-B1BF-64520444A2D4}">
      <dgm:prSet phldrT="[Text]" custT="1"/>
      <dgm:spPr/>
      <dgm:t>
        <a:bodyPr/>
        <a:lstStyle/>
        <a:p>
          <a:endParaRPr lang="en-US" altLang="en-US" sz="1600" b="0">
            <a:latin typeface="+mn-lt"/>
            <a:ea typeface="Times New Roman" pitchFamily="18" charset="0"/>
          </a:endParaRPr>
        </a:p>
        <a:p>
          <a:endParaRPr lang="en-US" altLang="en-US" sz="1600" b="0">
            <a:latin typeface="+mn-lt"/>
            <a:ea typeface="Times New Roman" pitchFamily="18" charset="0"/>
          </a:endParaRPr>
        </a:p>
        <a:p>
          <a:r>
            <a:rPr lang="en-US" altLang="en-US" sz="1600" b="0">
              <a:latin typeface="+mn-lt"/>
              <a:ea typeface="Times New Roman" pitchFamily="18" charset="0"/>
            </a:rPr>
            <a:t>Manager Actions</a:t>
          </a:r>
          <a:endParaRPr lang="en-US" sz="1600" b="0"/>
        </a:p>
      </dgm:t>
    </dgm:pt>
    <dgm:pt modelId="{69A5F5BD-6621-4ACC-9D6E-A6E3947DB2AB}" type="parTrans" cxnId="{FB00CBB3-0CF1-4281-9DE8-DB2FC8F0D157}">
      <dgm:prSet/>
      <dgm:spPr/>
      <dgm:t>
        <a:bodyPr/>
        <a:lstStyle/>
        <a:p>
          <a:endParaRPr lang="en-US"/>
        </a:p>
      </dgm:t>
    </dgm:pt>
    <dgm:pt modelId="{FDCA1C86-91D9-4DBA-B12A-97FDC12483A6}" type="sibTrans" cxnId="{FB00CBB3-0CF1-4281-9DE8-DB2FC8F0D157}">
      <dgm:prSet/>
      <dgm:spPr/>
      <dgm:t>
        <a:bodyPr/>
        <a:lstStyle/>
        <a:p>
          <a:endParaRPr lang="en-US"/>
        </a:p>
      </dgm:t>
    </dgm:pt>
    <dgm:pt modelId="{3DC62F11-5478-40F4-8F3B-F73AF3BDEF21}">
      <dgm:prSet phldrT="[Text]" custT="1"/>
      <dgm:spPr/>
      <dgm:t>
        <a:bodyPr/>
        <a:lstStyle/>
        <a:p>
          <a:endParaRPr kumimoji="0" lang="en-US" altLang="en-US" sz="1600" b="0" i="0" u="none" strike="noStrike" cap="none" normalizeH="0" baseline="0">
            <a:ln/>
            <a:effectLst/>
            <a:ea typeface="Times New Roman" pitchFamily="18" charset="0"/>
            <a:cs typeface="Arial" pitchFamily="34" charset="0"/>
          </a:endParaRPr>
        </a:p>
        <a:p>
          <a:endParaRPr kumimoji="0" lang="en-US" altLang="en-US" sz="1600" b="0" i="0" u="none" strike="noStrike" cap="none" normalizeH="0" baseline="0">
            <a:ln/>
            <a:effectLst/>
            <a:ea typeface="Times New Roman" pitchFamily="18" charset="0"/>
            <a:cs typeface="Arial" pitchFamily="34" charset="0"/>
          </a:endParaRPr>
        </a:p>
        <a:p>
          <a:r>
            <a:rPr kumimoji="0" lang="en-US" altLang="en-US" sz="1600" b="0" i="0" u="none" strike="noStrike" cap="none" normalizeH="0" baseline="0">
              <a:ln/>
              <a:effectLst/>
              <a:ea typeface="Times New Roman" pitchFamily="18" charset="0"/>
              <a:cs typeface="Arial" pitchFamily="34" charset="0"/>
            </a:rPr>
            <a:t>Auto Trigger </a:t>
          </a:r>
          <a:r>
            <a:rPr lang="en-US" altLang="en-US" sz="1600" b="0">
              <a:ea typeface="Times New Roman" pitchFamily="18" charset="0"/>
              <a:cs typeface="Arial" pitchFamily="34" charset="0"/>
            </a:rPr>
            <a:t>to employee if:</a:t>
          </a:r>
          <a:endParaRPr lang="en-US" sz="1600" b="0"/>
        </a:p>
      </dgm:t>
    </dgm:pt>
    <dgm:pt modelId="{F626C9D6-2A40-4777-93F5-E0C724E0FFDE}" type="parTrans" cxnId="{FA249CCE-67DE-4275-BB1A-26F12A84AE60}">
      <dgm:prSet/>
      <dgm:spPr/>
      <dgm:t>
        <a:bodyPr/>
        <a:lstStyle/>
        <a:p>
          <a:endParaRPr lang="en-US"/>
        </a:p>
      </dgm:t>
    </dgm:pt>
    <dgm:pt modelId="{AD9BD52B-5567-47BC-9293-D07365BCD790}" type="sibTrans" cxnId="{FA249CCE-67DE-4275-BB1A-26F12A84AE60}">
      <dgm:prSet/>
      <dgm:spPr/>
      <dgm:t>
        <a:bodyPr/>
        <a:lstStyle/>
        <a:p>
          <a:endParaRPr lang="en-US"/>
        </a:p>
      </dgm:t>
    </dgm:pt>
    <dgm:pt modelId="{1755278B-B854-4DAE-8570-D9164EABE917}">
      <dgm:prSet custT="1"/>
      <dgm:spPr/>
      <dgm:t>
        <a:bodyPr/>
        <a:lstStyle/>
        <a:p>
          <a:pPr rtl="0"/>
          <a:r>
            <a:rPr kumimoji="0" lang="en-US" altLang="en-US" sz="1600" b="0" i="0" u="none" strike="noStrike" cap="none" normalizeH="0">
              <a:ln/>
              <a:effectLst/>
              <a:cs typeface="Arial" pitchFamily="34" charset="0"/>
            </a:rPr>
            <a:t>Attendance Request</a:t>
          </a:r>
          <a:endParaRPr lang="en-US" altLang="en-US" sz="1600" b="0">
            <a:cs typeface="Arial" pitchFamily="34" charset="0"/>
          </a:endParaRPr>
        </a:p>
      </dgm:t>
    </dgm:pt>
    <dgm:pt modelId="{F2BA05D3-5428-46E8-B5D7-3086A7045086}" type="parTrans" cxnId="{B844F8BE-F821-41EA-81DB-722D3A16441C}">
      <dgm:prSet/>
      <dgm:spPr/>
      <dgm:t>
        <a:bodyPr/>
        <a:lstStyle/>
        <a:p>
          <a:endParaRPr lang="en-US"/>
        </a:p>
      </dgm:t>
    </dgm:pt>
    <dgm:pt modelId="{53AE8DF2-B021-4F2F-B1C0-7984EBFE5FDA}" type="sibTrans" cxnId="{B844F8BE-F821-41EA-81DB-722D3A16441C}">
      <dgm:prSet/>
      <dgm:spPr/>
      <dgm:t>
        <a:bodyPr/>
        <a:lstStyle/>
        <a:p>
          <a:endParaRPr lang="en-US"/>
        </a:p>
      </dgm:t>
    </dgm:pt>
    <dgm:pt modelId="{290E0F60-0D22-40F2-BE02-071C3557BFFD}">
      <dgm:prSet phldrT="[Text]" custT="1"/>
      <dgm:spPr/>
      <dgm:t>
        <a:bodyPr/>
        <a:lstStyle/>
        <a:p>
          <a:endParaRPr lang="en-US" altLang="en-US" sz="1600" b="0">
            <a:ea typeface="Times New Roman" pitchFamily="18" charset="0"/>
            <a:cs typeface="Arial" pitchFamily="34" charset="0"/>
          </a:endParaRPr>
        </a:p>
        <a:p>
          <a:endParaRPr lang="en-US" altLang="en-US" sz="1600" b="0">
            <a:ea typeface="Times New Roman" pitchFamily="18" charset="0"/>
            <a:cs typeface="Arial" pitchFamily="34" charset="0"/>
          </a:endParaRPr>
        </a:p>
        <a:p>
          <a:r>
            <a:rPr lang="en-US" altLang="en-US" sz="1600" b="0">
              <a:ea typeface="Times New Roman" pitchFamily="18" charset="0"/>
              <a:cs typeface="Arial" pitchFamily="34" charset="0"/>
            </a:rPr>
            <a:t>Below records get updated:</a:t>
          </a:r>
          <a:endParaRPr lang="en-US" sz="1600" b="0"/>
        </a:p>
      </dgm:t>
    </dgm:pt>
    <dgm:pt modelId="{36575093-73E7-47B3-B49B-D1398E5F3707}" type="parTrans" cxnId="{63642F8E-D4AB-4C9F-8154-C21C5D72A582}">
      <dgm:prSet/>
      <dgm:spPr/>
      <dgm:t>
        <a:bodyPr/>
        <a:lstStyle/>
        <a:p>
          <a:endParaRPr lang="en-US"/>
        </a:p>
      </dgm:t>
    </dgm:pt>
    <dgm:pt modelId="{52B49760-6A4C-43E8-A9C6-0BE7930A44F0}" type="sibTrans" cxnId="{63642F8E-D4AB-4C9F-8154-C21C5D72A582}">
      <dgm:prSet/>
      <dgm:spPr/>
      <dgm:t>
        <a:bodyPr/>
        <a:lstStyle/>
        <a:p>
          <a:endParaRPr lang="en-US"/>
        </a:p>
      </dgm:t>
    </dgm:pt>
    <dgm:pt modelId="{E80B52EA-56DF-45F7-B5F7-A57A80FF907D}">
      <dgm:prSet custT="1"/>
      <dgm:spPr/>
      <dgm:t>
        <a:bodyPr/>
        <a:lstStyle/>
        <a:p>
          <a:r>
            <a:rPr lang="en-US" altLang="en-US" sz="1600" b="0">
              <a:latin typeface="+mn-lt"/>
              <a:ea typeface="Times New Roman" pitchFamily="18" charset="0"/>
            </a:rPr>
            <a:t>Approve</a:t>
          </a:r>
        </a:p>
      </dgm:t>
    </dgm:pt>
    <dgm:pt modelId="{5A446D82-18A3-4B34-88EE-F5792E4D8FB7}" type="parTrans" cxnId="{BE52AE73-D413-4C45-B697-5AB9BC746A83}">
      <dgm:prSet/>
      <dgm:spPr/>
      <dgm:t>
        <a:bodyPr/>
        <a:lstStyle/>
        <a:p>
          <a:endParaRPr lang="en-US"/>
        </a:p>
      </dgm:t>
    </dgm:pt>
    <dgm:pt modelId="{A6A7C9A0-6AF6-49A9-A4A9-4C4B6FE38C22}" type="sibTrans" cxnId="{BE52AE73-D413-4C45-B697-5AB9BC746A83}">
      <dgm:prSet/>
      <dgm:spPr/>
      <dgm:t>
        <a:bodyPr/>
        <a:lstStyle/>
        <a:p>
          <a:endParaRPr lang="en-US"/>
        </a:p>
      </dgm:t>
    </dgm:pt>
    <dgm:pt modelId="{A178E689-462E-4D59-ADB5-DEDB3D1D39D3}">
      <dgm:prSet custT="1"/>
      <dgm:spPr/>
      <dgm:t>
        <a:bodyPr/>
        <a:lstStyle/>
        <a:p>
          <a:r>
            <a:rPr lang="en-US" altLang="en-US" sz="1600" b="0">
              <a:latin typeface="+mn-lt"/>
              <a:ea typeface="Times New Roman" pitchFamily="18" charset="0"/>
            </a:rPr>
            <a:t>Reject</a:t>
          </a:r>
        </a:p>
      </dgm:t>
    </dgm:pt>
    <dgm:pt modelId="{8CD27D73-B2B0-4BB3-BC6C-193CAFC9E675}" type="parTrans" cxnId="{49D42226-0252-4E44-9ED6-D391708ACBF2}">
      <dgm:prSet/>
      <dgm:spPr/>
      <dgm:t>
        <a:bodyPr/>
        <a:lstStyle/>
        <a:p>
          <a:endParaRPr lang="en-US"/>
        </a:p>
      </dgm:t>
    </dgm:pt>
    <dgm:pt modelId="{3457CA6C-EFED-45C0-AFBF-F7EBFAFE9631}" type="sibTrans" cxnId="{49D42226-0252-4E44-9ED6-D391708ACBF2}">
      <dgm:prSet/>
      <dgm:spPr/>
      <dgm:t>
        <a:bodyPr/>
        <a:lstStyle/>
        <a:p>
          <a:endParaRPr lang="en-US"/>
        </a:p>
      </dgm:t>
    </dgm:pt>
    <dgm:pt modelId="{76EAC263-37B9-4AA3-9CFC-108F5B27BEED}">
      <dgm:prSet custT="1"/>
      <dgm:spPr/>
      <dgm:t>
        <a:bodyPr/>
        <a:lstStyle/>
        <a:p>
          <a:r>
            <a:rPr lang="en-US" altLang="en-US" sz="1600" b="0">
              <a:latin typeface="+mn-lt"/>
              <a:ea typeface="Times New Roman" pitchFamily="18" charset="0"/>
            </a:rPr>
            <a:t>Delegate/Re-Assign</a:t>
          </a:r>
        </a:p>
      </dgm:t>
    </dgm:pt>
    <dgm:pt modelId="{976A7AF0-576D-41FF-A729-F44F06F68D1D}" type="parTrans" cxnId="{8DB72AE7-67BE-4C4E-A15E-001E0BA525A9}">
      <dgm:prSet/>
      <dgm:spPr/>
      <dgm:t>
        <a:bodyPr/>
        <a:lstStyle/>
        <a:p>
          <a:endParaRPr lang="en-US"/>
        </a:p>
      </dgm:t>
    </dgm:pt>
    <dgm:pt modelId="{603ADCA2-1EBC-4C2D-81C6-26A5246E91A3}" type="sibTrans" cxnId="{8DB72AE7-67BE-4C4E-A15E-001E0BA525A9}">
      <dgm:prSet/>
      <dgm:spPr/>
      <dgm:t>
        <a:bodyPr/>
        <a:lstStyle/>
        <a:p>
          <a:endParaRPr lang="en-US"/>
        </a:p>
      </dgm:t>
    </dgm:pt>
    <dgm:pt modelId="{89AB97D0-898F-4725-8218-8E6D932E4EC4}">
      <dgm:prSet custT="1"/>
      <dgm:spPr/>
      <dgm:t>
        <a:bodyPr/>
        <a:lstStyle/>
        <a:p>
          <a:endParaRPr lang="en-US" altLang="en-US" sz="1600" b="0">
            <a:solidFill>
              <a:schemeClr val="bg1"/>
            </a:solidFill>
            <a:ea typeface="Times New Roman" pitchFamily="18" charset="0"/>
            <a:cs typeface="Arial" pitchFamily="34" charset="0"/>
          </a:endParaRPr>
        </a:p>
      </dgm:t>
    </dgm:pt>
    <dgm:pt modelId="{C7D28D1E-D88E-4AD3-B1F4-6F4699086657}" type="parTrans" cxnId="{ED490D33-A7B0-45CA-A3AE-575EF27896B9}">
      <dgm:prSet/>
      <dgm:spPr/>
      <dgm:t>
        <a:bodyPr/>
        <a:lstStyle/>
        <a:p>
          <a:endParaRPr lang="en-US"/>
        </a:p>
      </dgm:t>
    </dgm:pt>
    <dgm:pt modelId="{DA091C43-ECC6-4544-941A-002710359F05}" type="sibTrans" cxnId="{ED490D33-A7B0-45CA-A3AE-575EF27896B9}">
      <dgm:prSet/>
      <dgm:spPr/>
      <dgm:t>
        <a:bodyPr/>
        <a:lstStyle/>
        <a:p>
          <a:endParaRPr lang="en-US"/>
        </a:p>
      </dgm:t>
    </dgm:pt>
    <dgm:pt modelId="{47D310C9-141A-43B5-BF41-5A12F1D4CCA8}">
      <dgm:prSet custT="1"/>
      <dgm:spPr/>
      <dgm:t>
        <a:bodyPr/>
        <a:lstStyle/>
        <a:p>
          <a:r>
            <a:rPr lang="en-US" altLang="en-US" sz="1600" b="0">
              <a:ea typeface="Times New Roman" pitchFamily="18" charset="0"/>
              <a:cs typeface="Arial" pitchFamily="34" charset="0"/>
            </a:rPr>
            <a:t>Approved  </a:t>
          </a:r>
        </a:p>
      </dgm:t>
    </dgm:pt>
    <dgm:pt modelId="{A5829832-4B61-47A6-8D90-897B7048D4F2}" type="parTrans" cxnId="{03ED986B-D7B9-4DB5-A845-06B37F987136}">
      <dgm:prSet/>
      <dgm:spPr/>
      <dgm:t>
        <a:bodyPr/>
        <a:lstStyle/>
        <a:p>
          <a:endParaRPr lang="en-US"/>
        </a:p>
      </dgm:t>
    </dgm:pt>
    <dgm:pt modelId="{B5116075-5FAA-4F77-BC55-7890CD08559A}" type="sibTrans" cxnId="{03ED986B-D7B9-4DB5-A845-06B37F987136}">
      <dgm:prSet/>
      <dgm:spPr/>
      <dgm:t>
        <a:bodyPr/>
        <a:lstStyle/>
        <a:p>
          <a:endParaRPr lang="en-US"/>
        </a:p>
      </dgm:t>
    </dgm:pt>
    <dgm:pt modelId="{D5E3EF8B-F90D-44A2-8B0D-BCBD29422DE2}">
      <dgm:prSet custT="1"/>
      <dgm:spPr/>
      <dgm:t>
        <a:bodyPr/>
        <a:lstStyle/>
        <a:p>
          <a:r>
            <a:rPr lang="en-US" altLang="en-US" sz="1600" b="0">
              <a:ea typeface="Times New Roman" pitchFamily="18" charset="0"/>
              <a:cs typeface="Arial" pitchFamily="34" charset="0"/>
            </a:rPr>
            <a:t>Rejected or</a:t>
          </a:r>
        </a:p>
      </dgm:t>
    </dgm:pt>
    <dgm:pt modelId="{F358F44B-8E42-4DCE-BD01-AFB9E99200FD}" type="parTrans" cxnId="{AA471AED-0CD0-470F-86D3-27142C3375C7}">
      <dgm:prSet/>
      <dgm:spPr/>
      <dgm:t>
        <a:bodyPr/>
        <a:lstStyle/>
        <a:p>
          <a:endParaRPr lang="en-US"/>
        </a:p>
      </dgm:t>
    </dgm:pt>
    <dgm:pt modelId="{E8BE49C5-4FBB-4D1B-97A1-B80C6C112006}" type="sibTrans" cxnId="{AA471AED-0CD0-470F-86D3-27142C3375C7}">
      <dgm:prSet/>
      <dgm:spPr/>
      <dgm:t>
        <a:bodyPr/>
        <a:lstStyle/>
        <a:p>
          <a:endParaRPr lang="en-US"/>
        </a:p>
      </dgm:t>
    </dgm:pt>
    <dgm:pt modelId="{1E9A44FA-B6D3-4CC7-A928-F1DE4944B981}">
      <dgm:prSet custT="1"/>
      <dgm:spPr/>
      <dgm:t>
        <a:bodyPr/>
        <a:lstStyle/>
        <a:p>
          <a:r>
            <a:rPr lang="en-US" altLang="en-US" sz="1600" b="0">
              <a:ea typeface="Times New Roman" pitchFamily="18" charset="0"/>
              <a:cs typeface="Arial" pitchFamily="34" charset="0"/>
            </a:rPr>
            <a:t>Delegate/Re Assign</a:t>
          </a:r>
        </a:p>
      </dgm:t>
    </dgm:pt>
    <dgm:pt modelId="{D71D3269-8AC2-4C4E-AA87-AD77A9123C27}" type="parTrans" cxnId="{F3F1A943-33D1-4EB6-9757-B73CF2EB4035}">
      <dgm:prSet/>
      <dgm:spPr/>
      <dgm:t>
        <a:bodyPr/>
        <a:lstStyle/>
        <a:p>
          <a:endParaRPr lang="en-US"/>
        </a:p>
      </dgm:t>
    </dgm:pt>
    <dgm:pt modelId="{DC22DADD-F61F-4171-9B44-D03D6BBAD9EC}" type="sibTrans" cxnId="{F3F1A943-33D1-4EB6-9757-B73CF2EB4035}">
      <dgm:prSet/>
      <dgm:spPr/>
      <dgm:t>
        <a:bodyPr/>
        <a:lstStyle/>
        <a:p>
          <a:endParaRPr lang="en-US"/>
        </a:p>
      </dgm:t>
    </dgm:pt>
    <dgm:pt modelId="{50759BAC-8542-4F27-9500-F5B3575D4F82}">
      <dgm:prSet custT="1"/>
      <dgm:spPr/>
      <dgm:t>
        <a:bodyPr/>
        <a:lstStyle/>
        <a:p>
          <a:r>
            <a:rPr lang="en-US" altLang="en-US" sz="1600" b="0">
              <a:ea typeface="Times New Roman" pitchFamily="18" charset="0"/>
              <a:cs typeface="Arial" pitchFamily="34" charset="0"/>
            </a:rPr>
            <a:t>Attendance Request</a:t>
          </a:r>
        </a:p>
      </dgm:t>
    </dgm:pt>
    <dgm:pt modelId="{3E6B3C38-5637-44BA-8CF3-32973980AB3C}" type="parTrans" cxnId="{E3913F8B-D127-4AFE-9BF2-2DB1F957C701}">
      <dgm:prSet/>
      <dgm:spPr/>
      <dgm:t>
        <a:bodyPr/>
        <a:lstStyle/>
        <a:p>
          <a:endParaRPr lang="en-US"/>
        </a:p>
      </dgm:t>
    </dgm:pt>
    <dgm:pt modelId="{B0230FDF-5C70-4336-BB48-9D2E473D0391}" type="sibTrans" cxnId="{E3913F8B-D127-4AFE-9BF2-2DB1F957C701}">
      <dgm:prSet/>
      <dgm:spPr/>
      <dgm:t>
        <a:bodyPr/>
        <a:lstStyle/>
        <a:p>
          <a:endParaRPr lang="en-US"/>
        </a:p>
      </dgm:t>
    </dgm:pt>
    <dgm:pt modelId="{5811833F-2A30-4CD3-A3C1-34B78597CD94}">
      <dgm:prSet custT="1"/>
      <dgm:spPr/>
      <dgm:t>
        <a:bodyPr/>
        <a:lstStyle/>
        <a:p>
          <a:pPr rtl="0"/>
          <a:r>
            <a:rPr kumimoji="0" lang="en-US" altLang="en-US" sz="1600" b="0" i="0" u="none" strike="noStrike" cap="none" normalizeH="0" baseline="0">
              <a:ln/>
              <a:effectLst/>
              <a:ea typeface="Times New Roman" pitchFamily="18" charset="0"/>
              <a:cs typeface="Arial" pitchFamily="34" charset="0"/>
            </a:rPr>
            <a:t>Notification/ Auto-Trigger to Approving Manager</a:t>
          </a:r>
          <a:endParaRPr lang="en-US" altLang="en-US" sz="1600" b="0">
            <a:cs typeface="Arial" pitchFamily="34" charset="0"/>
          </a:endParaRPr>
        </a:p>
      </dgm:t>
    </dgm:pt>
    <dgm:pt modelId="{6E2932CE-DB02-4969-89B4-6E8FE39121E5}" type="parTrans" cxnId="{08750E52-8E69-44A4-8801-952F4B0C5D53}">
      <dgm:prSet/>
      <dgm:spPr/>
      <dgm:t>
        <a:bodyPr/>
        <a:lstStyle/>
        <a:p>
          <a:endParaRPr lang="en-US"/>
        </a:p>
      </dgm:t>
    </dgm:pt>
    <dgm:pt modelId="{10DFD5D4-2D2F-4036-B3C9-2C88E7EE1F9A}" type="sibTrans" cxnId="{08750E52-8E69-44A4-8801-952F4B0C5D53}">
      <dgm:prSet/>
      <dgm:spPr/>
      <dgm:t>
        <a:bodyPr/>
        <a:lstStyle/>
        <a:p>
          <a:endParaRPr lang="en-US"/>
        </a:p>
      </dgm:t>
    </dgm:pt>
    <dgm:pt modelId="{042CF801-C8AF-4DF2-810C-9DE489AFFDC4}">
      <dgm:prSet phldrT="[Text]" custT="1"/>
      <dgm:spPr/>
      <dgm:t>
        <a:bodyPr/>
        <a:lstStyle/>
        <a:p>
          <a:pPr rtl="0"/>
          <a:endParaRPr lang="en-US" sz="1600" b="0"/>
        </a:p>
      </dgm:t>
    </dgm:pt>
    <dgm:pt modelId="{CD6245FC-416E-4FD3-AA75-70C505C4B9EF}" type="parTrans" cxnId="{31B62CC4-66B8-4D93-B4B0-ACA8F44037BE}">
      <dgm:prSet/>
      <dgm:spPr/>
      <dgm:t>
        <a:bodyPr/>
        <a:lstStyle/>
        <a:p>
          <a:endParaRPr lang="en-US"/>
        </a:p>
      </dgm:t>
    </dgm:pt>
    <dgm:pt modelId="{8283DB2B-370D-48A1-9057-439335CCAFF9}" type="sibTrans" cxnId="{31B62CC4-66B8-4D93-B4B0-ACA8F44037BE}">
      <dgm:prSet/>
      <dgm:spPr/>
      <dgm:t>
        <a:bodyPr/>
        <a:lstStyle/>
        <a:p>
          <a:endParaRPr lang="en-US"/>
        </a:p>
      </dgm:t>
    </dgm:pt>
    <dgm:pt modelId="{A04C2070-7F8E-4CAB-A615-CF5FD998E7EF}">
      <dgm:prSet phldrT="[Text]" custT="1"/>
      <dgm:spPr/>
      <dgm:t>
        <a:bodyPr/>
        <a:lstStyle/>
        <a:p>
          <a:pPr rtl="0"/>
          <a:endParaRPr lang="en-US" sz="1600" b="0"/>
        </a:p>
      </dgm:t>
    </dgm:pt>
    <dgm:pt modelId="{4A9E7881-9132-48FC-8505-4432FAE72014}" type="parTrans" cxnId="{DFEFED94-B538-4FC6-81B3-42A0B910AA4D}">
      <dgm:prSet/>
      <dgm:spPr/>
      <dgm:t>
        <a:bodyPr/>
        <a:lstStyle/>
        <a:p>
          <a:endParaRPr lang="en-US"/>
        </a:p>
      </dgm:t>
    </dgm:pt>
    <dgm:pt modelId="{A98E4924-7248-42E7-A24D-C20CC70BF412}" type="sibTrans" cxnId="{DFEFED94-B538-4FC6-81B3-42A0B910AA4D}">
      <dgm:prSet/>
      <dgm:spPr/>
      <dgm:t>
        <a:bodyPr/>
        <a:lstStyle/>
        <a:p>
          <a:endParaRPr lang="en-US"/>
        </a:p>
      </dgm:t>
    </dgm:pt>
    <dgm:pt modelId="{057CA198-74B0-4C46-BCFF-5DDAC62E5DF4}" type="pres">
      <dgm:prSet presAssocID="{9D8B3014-CA2C-4724-A8F6-39162B1EAB9E}" presName="Name0" presStyleCnt="0">
        <dgm:presLayoutVars>
          <dgm:dir/>
          <dgm:resizeHandles val="exact"/>
        </dgm:presLayoutVars>
      </dgm:prSet>
      <dgm:spPr/>
    </dgm:pt>
    <dgm:pt modelId="{D453D7D7-5417-4FC5-9EF2-DB3102F4CFE5}" type="pres">
      <dgm:prSet presAssocID="{F5141AAE-FC04-40C8-B17E-27266A5E3DFE}" presName="parAndChTx" presStyleLbl="node1" presStyleIdx="0" presStyleCnt="4">
        <dgm:presLayoutVars>
          <dgm:bulletEnabled val="1"/>
        </dgm:presLayoutVars>
      </dgm:prSet>
      <dgm:spPr/>
    </dgm:pt>
    <dgm:pt modelId="{E9498EB5-5975-4EC9-8A4B-49CF8683658F}" type="pres">
      <dgm:prSet presAssocID="{02D6DC57-0C0A-4247-B517-9242B4E58570}" presName="parAndChSpace" presStyleCnt="0"/>
      <dgm:spPr/>
    </dgm:pt>
    <dgm:pt modelId="{271C10B6-F7BB-48B4-B8B9-58D610442DB5}" type="pres">
      <dgm:prSet presAssocID="{4EDF65D0-2151-4CD9-B1BF-64520444A2D4}" presName="parAndChTx" presStyleLbl="node1" presStyleIdx="1" presStyleCnt="4" custLinFactNeighborX="-3599" custLinFactNeighborY="1912">
        <dgm:presLayoutVars>
          <dgm:bulletEnabled val="1"/>
        </dgm:presLayoutVars>
      </dgm:prSet>
      <dgm:spPr/>
    </dgm:pt>
    <dgm:pt modelId="{46E524EA-1084-4C90-A371-7B79A613D772}" type="pres">
      <dgm:prSet presAssocID="{FDCA1C86-91D9-4DBA-B12A-97FDC12483A6}" presName="parAndChSpace" presStyleCnt="0"/>
      <dgm:spPr/>
    </dgm:pt>
    <dgm:pt modelId="{EF18D016-5FD1-47C8-9B1E-FFC581A6BF71}" type="pres">
      <dgm:prSet presAssocID="{3DC62F11-5478-40F4-8F3B-F73AF3BDEF21}" presName="parAndChTx" presStyleLbl="node1" presStyleIdx="2" presStyleCnt="4">
        <dgm:presLayoutVars>
          <dgm:bulletEnabled val="1"/>
        </dgm:presLayoutVars>
      </dgm:prSet>
      <dgm:spPr/>
    </dgm:pt>
    <dgm:pt modelId="{546718F4-F6A3-43AA-89D5-ADA7273E44B4}" type="pres">
      <dgm:prSet presAssocID="{AD9BD52B-5567-47BC-9293-D07365BCD790}" presName="parAndChSpace" presStyleCnt="0"/>
      <dgm:spPr/>
    </dgm:pt>
    <dgm:pt modelId="{22625B7F-032A-42D5-83CD-2E774ECA1251}" type="pres">
      <dgm:prSet presAssocID="{290E0F60-0D22-40F2-BE02-071C3557BFFD}" presName="parAndChTx" presStyleLbl="node1" presStyleIdx="3" presStyleCnt="4">
        <dgm:presLayoutVars>
          <dgm:bulletEnabled val="1"/>
        </dgm:presLayoutVars>
      </dgm:prSet>
      <dgm:spPr/>
    </dgm:pt>
  </dgm:ptLst>
  <dgm:cxnLst>
    <dgm:cxn modelId="{C7A0F211-2F30-4AE3-BE67-D763A8FD34B5}" type="presOf" srcId="{47D310C9-141A-43B5-BF41-5A12F1D4CCA8}" destId="{EF18D016-5FD1-47C8-9B1E-FFC581A6BF71}" srcOrd="0" destOrd="2" presId="urn:microsoft.com/office/officeart/2005/8/layout/hChevron3"/>
    <dgm:cxn modelId="{CA770518-E913-412D-8F6E-D6D9B9518567}" type="presOf" srcId="{76EAC263-37B9-4AA3-9CFC-108F5B27BEED}" destId="{271C10B6-F7BB-48B4-B8B9-58D610442DB5}" srcOrd="0" destOrd="3" presId="urn:microsoft.com/office/officeart/2005/8/layout/hChevron3"/>
    <dgm:cxn modelId="{B70C6A1E-1648-42CC-AE8A-6FFBC0D7711E}" type="presOf" srcId="{89AB97D0-898F-4725-8218-8E6D932E4EC4}" destId="{EF18D016-5FD1-47C8-9B1E-FFC581A6BF71}" srcOrd="0" destOrd="1" presId="urn:microsoft.com/office/officeart/2005/8/layout/hChevron3"/>
    <dgm:cxn modelId="{49D42226-0252-4E44-9ED6-D391708ACBF2}" srcId="{4EDF65D0-2151-4CD9-B1BF-64520444A2D4}" destId="{A178E689-462E-4D59-ADB5-DEDB3D1D39D3}" srcOrd="1" destOrd="0" parTransId="{8CD27D73-B2B0-4BB3-BC6C-193CAFC9E675}" sibTransId="{3457CA6C-EFED-45C0-AFBF-F7EBFAFE9631}"/>
    <dgm:cxn modelId="{B1464B31-C211-4A7B-9605-F3E0A390066A}" type="presOf" srcId="{290E0F60-0D22-40F2-BE02-071C3557BFFD}" destId="{22625B7F-032A-42D5-83CD-2E774ECA1251}" srcOrd="0" destOrd="0" presId="urn:microsoft.com/office/officeart/2005/8/layout/hChevron3"/>
    <dgm:cxn modelId="{5E499C32-105D-45AF-9871-66CD778F5543}" type="presOf" srcId="{D5E3EF8B-F90D-44A2-8B0D-BCBD29422DE2}" destId="{EF18D016-5FD1-47C8-9B1E-FFC581A6BF71}" srcOrd="0" destOrd="3" presId="urn:microsoft.com/office/officeart/2005/8/layout/hChevron3"/>
    <dgm:cxn modelId="{ED490D33-A7B0-45CA-A3AE-575EF27896B9}" srcId="{3DC62F11-5478-40F4-8F3B-F73AF3BDEF21}" destId="{89AB97D0-898F-4725-8218-8E6D932E4EC4}" srcOrd="0" destOrd="0" parTransId="{C7D28D1E-D88E-4AD3-B1F4-6F4699086657}" sibTransId="{DA091C43-ECC6-4544-941A-002710359F05}"/>
    <dgm:cxn modelId="{B5F50C63-4F61-4967-803B-AFEA89E9D434}" type="presOf" srcId="{9D8B3014-CA2C-4724-A8F6-39162B1EAB9E}" destId="{057CA198-74B0-4C46-BCFF-5DDAC62E5DF4}" srcOrd="0" destOrd="0" presId="urn:microsoft.com/office/officeart/2005/8/layout/hChevron3"/>
    <dgm:cxn modelId="{F3F1A943-33D1-4EB6-9757-B73CF2EB4035}" srcId="{89AB97D0-898F-4725-8218-8E6D932E4EC4}" destId="{1E9A44FA-B6D3-4CC7-A928-F1DE4944B981}" srcOrd="2" destOrd="0" parTransId="{D71D3269-8AC2-4C4E-AA87-AD77A9123C27}" sibTransId="{DC22DADD-F61F-4171-9B44-D03D6BBAD9EC}"/>
    <dgm:cxn modelId="{38224D66-11B0-4568-AD7E-5DAC51494C65}" type="presOf" srcId="{4EDF65D0-2151-4CD9-B1BF-64520444A2D4}" destId="{271C10B6-F7BB-48B4-B8B9-58D610442DB5}" srcOrd="0" destOrd="0" presId="urn:microsoft.com/office/officeart/2005/8/layout/hChevron3"/>
    <dgm:cxn modelId="{03ED986B-D7B9-4DB5-A845-06B37F987136}" srcId="{89AB97D0-898F-4725-8218-8E6D932E4EC4}" destId="{47D310C9-141A-43B5-BF41-5A12F1D4CCA8}" srcOrd="0" destOrd="0" parTransId="{A5829832-4B61-47A6-8D90-897B7048D4F2}" sibTransId="{B5116075-5FAA-4F77-BC55-7890CD08559A}"/>
    <dgm:cxn modelId="{8D48614C-7E92-436D-8428-0EE7D0345309}" type="presOf" srcId="{5811833F-2A30-4CD3-A3C1-34B78597CD94}" destId="{D453D7D7-5417-4FC5-9EF2-DB3102F4CFE5}" srcOrd="0" destOrd="5" presId="urn:microsoft.com/office/officeart/2005/8/layout/hChevron3"/>
    <dgm:cxn modelId="{BD75EC4F-AAA2-46F5-A1B6-D56133C6F981}" srcId="{F5141AAE-FC04-40C8-B17E-27266A5E3DFE}" destId="{A4521417-EC77-4694-A46B-13864D7B531B}" srcOrd="2" destOrd="0" parTransId="{776CE854-B22C-4489-858C-73BF89B06653}" sibTransId="{29F15C9E-525D-4D7D-93DF-08CE9FE5943C}"/>
    <dgm:cxn modelId="{08750E52-8E69-44A4-8801-952F4B0C5D53}" srcId="{F5141AAE-FC04-40C8-B17E-27266A5E3DFE}" destId="{5811833F-2A30-4CD3-A3C1-34B78597CD94}" srcOrd="4" destOrd="0" parTransId="{6E2932CE-DB02-4969-89B4-6E8FE39121E5}" sibTransId="{10DFD5D4-2D2F-4036-B3C9-2C88E7EE1F9A}"/>
    <dgm:cxn modelId="{BE52AE73-D413-4C45-B697-5AB9BC746A83}" srcId="{4EDF65D0-2151-4CD9-B1BF-64520444A2D4}" destId="{E80B52EA-56DF-45F7-B5F7-A57A80FF907D}" srcOrd="0" destOrd="0" parTransId="{5A446D82-18A3-4B34-88EE-F5792E4D8FB7}" sibTransId="{A6A7C9A0-6AF6-49A9-A4A9-4C4B6FE38C22}"/>
    <dgm:cxn modelId="{801BAB78-BF74-461F-907D-CAE9CB6D0ED5}" type="presOf" srcId="{042CF801-C8AF-4DF2-810C-9DE489AFFDC4}" destId="{D453D7D7-5417-4FC5-9EF2-DB3102F4CFE5}" srcOrd="0" destOrd="1" presId="urn:microsoft.com/office/officeart/2005/8/layout/hChevron3"/>
    <dgm:cxn modelId="{72F7C780-813F-40F4-B05A-A674FC9D0E07}" type="presOf" srcId="{F5141AAE-FC04-40C8-B17E-27266A5E3DFE}" destId="{D453D7D7-5417-4FC5-9EF2-DB3102F4CFE5}" srcOrd="0" destOrd="0" presId="urn:microsoft.com/office/officeart/2005/8/layout/hChevron3"/>
    <dgm:cxn modelId="{E3913F8B-D127-4AFE-9BF2-2DB1F957C701}" srcId="{290E0F60-0D22-40F2-BE02-071C3557BFFD}" destId="{50759BAC-8542-4F27-9500-F5B3575D4F82}" srcOrd="0" destOrd="0" parTransId="{3E6B3C38-5637-44BA-8CF3-32973980AB3C}" sibTransId="{B0230FDF-5C70-4336-BB48-9D2E473D0391}"/>
    <dgm:cxn modelId="{63642F8E-D4AB-4C9F-8154-C21C5D72A582}" srcId="{9D8B3014-CA2C-4724-A8F6-39162B1EAB9E}" destId="{290E0F60-0D22-40F2-BE02-071C3557BFFD}" srcOrd="3" destOrd="0" parTransId="{36575093-73E7-47B3-B49B-D1398E5F3707}" sibTransId="{52B49760-6A4C-43E8-A9C6-0BE7930A44F0}"/>
    <dgm:cxn modelId="{DFEFED94-B538-4FC6-81B3-42A0B910AA4D}" srcId="{F5141AAE-FC04-40C8-B17E-27266A5E3DFE}" destId="{A04C2070-7F8E-4CAB-A615-CF5FD998E7EF}" srcOrd="1" destOrd="0" parTransId="{4A9E7881-9132-48FC-8505-4432FAE72014}" sibTransId="{A98E4924-7248-42E7-A24D-C20CC70BF412}"/>
    <dgm:cxn modelId="{DC50EF94-A65C-42D9-9134-5EB9EE8C1F07}" type="presOf" srcId="{1E9A44FA-B6D3-4CC7-A928-F1DE4944B981}" destId="{EF18D016-5FD1-47C8-9B1E-FFC581A6BF71}" srcOrd="0" destOrd="4" presId="urn:microsoft.com/office/officeart/2005/8/layout/hChevron3"/>
    <dgm:cxn modelId="{E6E737B1-9B0F-4F10-ACAC-5B29B59D7F92}" type="presOf" srcId="{A178E689-462E-4D59-ADB5-DEDB3D1D39D3}" destId="{271C10B6-F7BB-48B4-B8B9-58D610442DB5}" srcOrd="0" destOrd="2" presId="urn:microsoft.com/office/officeart/2005/8/layout/hChevron3"/>
    <dgm:cxn modelId="{E75392B1-C060-4045-B8D5-215C0233DA27}" type="presOf" srcId="{3DC62F11-5478-40F4-8F3B-F73AF3BDEF21}" destId="{EF18D016-5FD1-47C8-9B1E-FFC581A6BF71}" srcOrd="0" destOrd="0" presId="urn:microsoft.com/office/officeart/2005/8/layout/hChevron3"/>
    <dgm:cxn modelId="{FB00CBB3-0CF1-4281-9DE8-DB2FC8F0D157}" srcId="{9D8B3014-CA2C-4724-A8F6-39162B1EAB9E}" destId="{4EDF65D0-2151-4CD9-B1BF-64520444A2D4}" srcOrd="1" destOrd="0" parTransId="{69A5F5BD-6621-4ACC-9D6E-A6E3947DB2AB}" sibTransId="{FDCA1C86-91D9-4DBA-B12A-97FDC12483A6}"/>
    <dgm:cxn modelId="{7FE81DB9-C2C1-4C01-BC7A-C2B26068F958}" type="presOf" srcId="{A04C2070-7F8E-4CAB-A615-CF5FD998E7EF}" destId="{D453D7D7-5417-4FC5-9EF2-DB3102F4CFE5}" srcOrd="0" destOrd="2" presId="urn:microsoft.com/office/officeart/2005/8/layout/hChevron3"/>
    <dgm:cxn modelId="{B844F8BE-F821-41EA-81DB-722D3A16441C}" srcId="{F5141AAE-FC04-40C8-B17E-27266A5E3DFE}" destId="{1755278B-B854-4DAE-8570-D9164EABE917}" srcOrd="3" destOrd="0" parTransId="{F2BA05D3-5428-46E8-B5D7-3086A7045086}" sibTransId="{53AE8DF2-B021-4F2F-B1C0-7984EBFE5FDA}"/>
    <dgm:cxn modelId="{31B62CC4-66B8-4D93-B4B0-ACA8F44037BE}" srcId="{F5141AAE-FC04-40C8-B17E-27266A5E3DFE}" destId="{042CF801-C8AF-4DF2-810C-9DE489AFFDC4}" srcOrd="0" destOrd="0" parTransId="{CD6245FC-416E-4FD3-AA75-70C505C4B9EF}" sibTransId="{8283DB2B-370D-48A1-9057-439335CCAFF9}"/>
    <dgm:cxn modelId="{FA249CCE-67DE-4275-BB1A-26F12A84AE60}" srcId="{9D8B3014-CA2C-4724-A8F6-39162B1EAB9E}" destId="{3DC62F11-5478-40F4-8F3B-F73AF3BDEF21}" srcOrd="2" destOrd="0" parTransId="{F626C9D6-2A40-4777-93F5-E0C724E0FFDE}" sibTransId="{AD9BD52B-5567-47BC-9293-D07365BCD790}"/>
    <dgm:cxn modelId="{7C4704D6-96C4-4F08-8C0C-09817FDD4E4D}" type="presOf" srcId="{50759BAC-8542-4F27-9500-F5B3575D4F82}" destId="{22625B7F-032A-42D5-83CD-2E774ECA1251}" srcOrd="0" destOrd="1" presId="urn:microsoft.com/office/officeart/2005/8/layout/hChevron3"/>
    <dgm:cxn modelId="{BA8008D9-BBB8-470E-904E-0D1E02352167}" type="presOf" srcId="{A4521417-EC77-4694-A46B-13864D7B531B}" destId="{D453D7D7-5417-4FC5-9EF2-DB3102F4CFE5}" srcOrd="0" destOrd="3" presId="urn:microsoft.com/office/officeart/2005/8/layout/hChevron3"/>
    <dgm:cxn modelId="{5994C9DB-3E9F-43D1-9D00-C1E209CFF045}" type="presOf" srcId="{1755278B-B854-4DAE-8570-D9164EABE917}" destId="{D453D7D7-5417-4FC5-9EF2-DB3102F4CFE5}" srcOrd="0" destOrd="4" presId="urn:microsoft.com/office/officeart/2005/8/layout/hChevron3"/>
    <dgm:cxn modelId="{8DB72AE7-67BE-4C4E-A15E-001E0BA525A9}" srcId="{4EDF65D0-2151-4CD9-B1BF-64520444A2D4}" destId="{76EAC263-37B9-4AA3-9CFC-108F5B27BEED}" srcOrd="2" destOrd="0" parTransId="{976A7AF0-576D-41FF-A729-F44F06F68D1D}" sibTransId="{603ADCA2-1EBC-4C2D-81C6-26A5246E91A3}"/>
    <dgm:cxn modelId="{829231EB-2946-4BD8-A18D-74140AEE47B9}" srcId="{9D8B3014-CA2C-4724-A8F6-39162B1EAB9E}" destId="{F5141AAE-FC04-40C8-B17E-27266A5E3DFE}" srcOrd="0" destOrd="0" parTransId="{D577F57E-3C14-4DA0-8F36-D092A58552A5}" sibTransId="{02D6DC57-0C0A-4247-B517-9242B4E58570}"/>
    <dgm:cxn modelId="{AA471AED-0CD0-470F-86D3-27142C3375C7}" srcId="{89AB97D0-898F-4725-8218-8E6D932E4EC4}" destId="{D5E3EF8B-F90D-44A2-8B0D-BCBD29422DE2}" srcOrd="1" destOrd="0" parTransId="{F358F44B-8E42-4DCE-BD01-AFB9E99200FD}" sibTransId="{E8BE49C5-4FBB-4D1B-97A1-B80C6C112006}"/>
    <dgm:cxn modelId="{266923FD-41F5-47A4-8E1A-BB2FC46751D5}" type="presOf" srcId="{E80B52EA-56DF-45F7-B5F7-A57A80FF907D}" destId="{271C10B6-F7BB-48B4-B8B9-58D610442DB5}" srcOrd="0" destOrd="1" presId="urn:microsoft.com/office/officeart/2005/8/layout/hChevron3"/>
    <dgm:cxn modelId="{275181C5-D565-4710-B60A-67F7D716DADA}" type="presParOf" srcId="{057CA198-74B0-4C46-BCFF-5DDAC62E5DF4}" destId="{D453D7D7-5417-4FC5-9EF2-DB3102F4CFE5}" srcOrd="0" destOrd="0" presId="urn:microsoft.com/office/officeart/2005/8/layout/hChevron3"/>
    <dgm:cxn modelId="{3C0514D4-8AD0-4AB6-A35B-7DDC42A9AAD0}" type="presParOf" srcId="{057CA198-74B0-4C46-BCFF-5DDAC62E5DF4}" destId="{E9498EB5-5975-4EC9-8A4B-49CF8683658F}" srcOrd="1" destOrd="0" presId="urn:microsoft.com/office/officeart/2005/8/layout/hChevron3"/>
    <dgm:cxn modelId="{1F03C3E9-5B3D-4EB2-9451-0DC76F4F49D5}" type="presParOf" srcId="{057CA198-74B0-4C46-BCFF-5DDAC62E5DF4}" destId="{271C10B6-F7BB-48B4-B8B9-58D610442DB5}" srcOrd="2" destOrd="0" presId="urn:microsoft.com/office/officeart/2005/8/layout/hChevron3"/>
    <dgm:cxn modelId="{BF5EBC0B-4DD5-4457-BA6E-E75DEFA58CB2}" type="presParOf" srcId="{057CA198-74B0-4C46-BCFF-5DDAC62E5DF4}" destId="{46E524EA-1084-4C90-A371-7B79A613D772}" srcOrd="3" destOrd="0" presId="urn:microsoft.com/office/officeart/2005/8/layout/hChevron3"/>
    <dgm:cxn modelId="{62D1D55F-0B45-405B-83F4-89D2A9E6EB9B}" type="presParOf" srcId="{057CA198-74B0-4C46-BCFF-5DDAC62E5DF4}" destId="{EF18D016-5FD1-47C8-9B1E-FFC581A6BF71}" srcOrd="4" destOrd="0" presId="urn:microsoft.com/office/officeart/2005/8/layout/hChevron3"/>
    <dgm:cxn modelId="{ED25C511-FBD2-4795-A1C9-BC93AB68F91E}" type="presParOf" srcId="{057CA198-74B0-4C46-BCFF-5DDAC62E5DF4}" destId="{546718F4-F6A3-43AA-89D5-ADA7273E44B4}" srcOrd="5" destOrd="0" presId="urn:microsoft.com/office/officeart/2005/8/layout/hChevron3"/>
    <dgm:cxn modelId="{14D8CFA6-ABEA-442E-BA00-35D5CAC20FB5}" type="presParOf" srcId="{057CA198-74B0-4C46-BCFF-5DDAC62E5DF4}" destId="{22625B7F-032A-42D5-83CD-2E774ECA125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53D7D7-5417-4FC5-9EF2-DB3102F4CFE5}">
      <dsp:nvSpPr>
        <dsp:cNvPr id="0" name=""/>
        <dsp:cNvSpPr/>
      </dsp:nvSpPr>
      <dsp:spPr>
        <a:xfrm>
          <a:off x="3348" y="902427"/>
          <a:ext cx="3359794" cy="2687835"/>
        </a:xfrm>
        <a:prstGeom prst="homePlate">
          <a:avLst>
            <a:gd name="adj" fmla="val 2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526" tIns="40640" rIns="474104" bIns="4064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0" kern="1200">
            <a:solidFill>
              <a:schemeClr val="bg1"/>
            </a:solidFill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0" kern="120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0" kern="120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altLang="en-US" sz="1600" b="0" i="0" u="none" strike="noStrike" kern="1200" cap="none" normalizeH="0" baseline="0">
              <a:ln/>
              <a:effectLst/>
              <a:ea typeface="Times New Roman" pitchFamily="18" charset="0"/>
              <a:cs typeface="Arial" pitchFamily="34" charset="0"/>
            </a:rPr>
            <a:t>Login to G Social &gt; Tools &gt; My Time Tool</a:t>
          </a:r>
          <a:endParaRPr lang="en-US" sz="1600" b="0" kern="120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altLang="en-US" sz="1600" b="0" i="0" u="none" strike="noStrike" kern="1200" cap="none" normalizeH="0">
              <a:ln/>
              <a:effectLst/>
              <a:cs typeface="Arial" pitchFamily="34" charset="0"/>
            </a:rPr>
            <a:t>Attendance Request</a:t>
          </a:r>
          <a:endParaRPr lang="en-US" altLang="en-US" sz="1600" b="0" kern="1200">
            <a:cs typeface="Arial" pitchFamily="34" charset="0"/>
          </a:endParaRP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altLang="en-US" sz="1600" b="0" i="0" u="none" strike="noStrike" kern="1200" cap="none" normalizeH="0" baseline="0">
              <a:ln/>
              <a:effectLst/>
              <a:ea typeface="Times New Roman" pitchFamily="18" charset="0"/>
              <a:cs typeface="Arial" pitchFamily="34" charset="0"/>
            </a:rPr>
            <a:t>Notification/ Auto-Trigger to Approving Manager</a:t>
          </a:r>
          <a:endParaRPr lang="en-US" altLang="en-US" sz="1600" b="0" kern="1200">
            <a:cs typeface="Arial" pitchFamily="34" charset="0"/>
          </a:endParaRPr>
        </a:p>
      </dsp:txBody>
      <dsp:txXfrm>
        <a:off x="3348" y="902427"/>
        <a:ext cx="3023815" cy="2687835"/>
      </dsp:txXfrm>
    </dsp:sp>
    <dsp:sp modelId="{271C10B6-F7BB-48B4-B8B9-58D610442DB5}">
      <dsp:nvSpPr>
        <dsp:cNvPr id="0" name=""/>
        <dsp:cNvSpPr/>
      </dsp:nvSpPr>
      <dsp:spPr>
        <a:xfrm>
          <a:off x="2667000" y="953818"/>
          <a:ext cx="3359794" cy="2687835"/>
        </a:xfrm>
        <a:prstGeom prst="chevron">
          <a:avLst>
            <a:gd name="adj" fmla="val 25000"/>
          </a:avLst>
        </a:prstGeom>
        <a:solidFill>
          <a:schemeClr val="accent2">
            <a:hueOff val="441517"/>
            <a:satOff val="-4435"/>
            <a:lumOff val="-6668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526" tIns="40640" rIns="118526" bIns="4064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altLang="en-US" sz="1600" b="0" kern="1200">
            <a:latin typeface="+mn-lt"/>
            <a:ea typeface="Times New Roman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altLang="en-US" sz="1600" b="0" kern="1200">
            <a:latin typeface="+mn-lt"/>
            <a:ea typeface="Times New Roman" pitchFamily="18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600" b="0" kern="1200">
              <a:latin typeface="+mn-lt"/>
              <a:ea typeface="Times New Roman" pitchFamily="18" charset="0"/>
            </a:rPr>
            <a:t>Manager Actions</a:t>
          </a:r>
          <a:endParaRPr lang="en-US" sz="1600" b="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en-US" sz="1600" b="0" kern="1200">
              <a:latin typeface="+mn-lt"/>
              <a:ea typeface="Times New Roman" pitchFamily="18" charset="0"/>
            </a:rPr>
            <a:t>Approv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en-US" sz="1600" b="0" kern="1200">
              <a:latin typeface="+mn-lt"/>
              <a:ea typeface="Times New Roman" pitchFamily="18" charset="0"/>
            </a:rPr>
            <a:t>Rejec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en-US" sz="1600" b="0" kern="1200">
              <a:latin typeface="+mn-lt"/>
              <a:ea typeface="Times New Roman" pitchFamily="18" charset="0"/>
            </a:rPr>
            <a:t>Delegate/Re-Assign</a:t>
          </a:r>
        </a:p>
      </dsp:txBody>
      <dsp:txXfrm>
        <a:off x="3338959" y="953818"/>
        <a:ext cx="2015876" cy="2687835"/>
      </dsp:txXfrm>
    </dsp:sp>
    <dsp:sp modelId="{EF18D016-5FD1-47C8-9B1E-FFC581A6BF71}">
      <dsp:nvSpPr>
        <dsp:cNvPr id="0" name=""/>
        <dsp:cNvSpPr/>
      </dsp:nvSpPr>
      <dsp:spPr>
        <a:xfrm>
          <a:off x="5379020" y="902427"/>
          <a:ext cx="3359794" cy="2687835"/>
        </a:xfrm>
        <a:prstGeom prst="chevron">
          <a:avLst>
            <a:gd name="adj" fmla="val 25000"/>
          </a:avLst>
        </a:prstGeom>
        <a:solidFill>
          <a:schemeClr val="accent2">
            <a:hueOff val="883035"/>
            <a:satOff val="-8871"/>
            <a:lumOff val="-1333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526" tIns="40640" rIns="118526" bIns="4064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0" lang="en-US" altLang="en-US" sz="1600" b="0" i="0" u="none" strike="noStrike" kern="1200" cap="none" normalizeH="0" baseline="0">
            <a:ln/>
            <a:effectLst/>
            <a:ea typeface="Times New Roman" pitchFamily="18" charset="0"/>
            <a:cs typeface="Arial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0" lang="en-US" altLang="en-US" sz="1600" b="0" i="0" u="none" strike="noStrike" kern="1200" cap="none" normalizeH="0" baseline="0">
            <a:ln/>
            <a:effectLst/>
            <a:ea typeface="Times New Roman" pitchFamily="18" charset="0"/>
            <a:cs typeface="Arial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altLang="en-US" sz="1600" b="0" i="0" u="none" strike="noStrike" kern="1200" cap="none" normalizeH="0" baseline="0">
              <a:ln/>
              <a:effectLst/>
              <a:ea typeface="Times New Roman" pitchFamily="18" charset="0"/>
              <a:cs typeface="Arial" pitchFamily="34" charset="0"/>
            </a:rPr>
            <a:t>Auto Trigger </a:t>
          </a:r>
          <a:r>
            <a:rPr lang="en-US" altLang="en-US" sz="1600" b="0" kern="1200">
              <a:ea typeface="Times New Roman" pitchFamily="18" charset="0"/>
              <a:cs typeface="Arial" pitchFamily="34" charset="0"/>
            </a:rPr>
            <a:t>to employee if:</a:t>
          </a:r>
          <a:endParaRPr lang="en-US" sz="1600" b="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altLang="en-US" sz="1600" b="0" kern="1200">
            <a:solidFill>
              <a:schemeClr val="bg1"/>
            </a:solidFill>
            <a:ea typeface="Times New Roman" pitchFamily="18" charset="0"/>
            <a:cs typeface="Arial" pitchFamily="34" charset="0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en-US" sz="1600" b="0" kern="1200">
              <a:ea typeface="Times New Roman" pitchFamily="18" charset="0"/>
              <a:cs typeface="Arial" pitchFamily="34" charset="0"/>
            </a:rPr>
            <a:t>Approved  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en-US" sz="1600" b="0" kern="1200">
              <a:ea typeface="Times New Roman" pitchFamily="18" charset="0"/>
              <a:cs typeface="Arial" pitchFamily="34" charset="0"/>
            </a:rPr>
            <a:t>Rejected or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en-US" sz="1600" b="0" kern="1200">
              <a:ea typeface="Times New Roman" pitchFamily="18" charset="0"/>
              <a:cs typeface="Arial" pitchFamily="34" charset="0"/>
            </a:rPr>
            <a:t>Delegate/Re Assign</a:t>
          </a:r>
        </a:p>
      </dsp:txBody>
      <dsp:txXfrm>
        <a:off x="6050979" y="902427"/>
        <a:ext cx="2015876" cy="2687835"/>
      </dsp:txXfrm>
    </dsp:sp>
    <dsp:sp modelId="{22625B7F-032A-42D5-83CD-2E774ECA1251}">
      <dsp:nvSpPr>
        <dsp:cNvPr id="0" name=""/>
        <dsp:cNvSpPr/>
      </dsp:nvSpPr>
      <dsp:spPr>
        <a:xfrm>
          <a:off x="8066856" y="902427"/>
          <a:ext cx="3359794" cy="2687835"/>
        </a:xfrm>
        <a:prstGeom prst="chevron">
          <a:avLst>
            <a:gd name="adj" fmla="val 25000"/>
          </a:avLst>
        </a:prstGeom>
        <a:solidFill>
          <a:schemeClr val="accent2">
            <a:hueOff val="1324552"/>
            <a:satOff val="-13306"/>
            <a:lumOff val="-2000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526" tIns="40640" rIns="118526" bIns="4064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altLang="en-US" sz="1600" b="0" kern="1200">
            <a:ea typeface="Times New Roman" pitchFamily="18" charset="0"/>
            <a:cs typeface="Arial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altLang="en-US" sz="1600" b="0" kern="1200">
            <a:ea typeface="Times New Roman" pitchFamily="18" charset="0"/>
            <a:cs typeface="Arial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en-US" sz="1600" b="0" kern="1200">
              <a:ea typeface="Times New Roman" pitchFamily="18" charset="0"/>
              <a:cs typeface="Arial" pitchFamily="34" charset="0"/>
            </a:rPr>
            <a:t>Below records get updated:</a:t>
          </a:r>
          <a:endParaRPr lang="en-US" sz="1600" b="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en-US" sz="1600" b="0" kern="1200">
              <a:ea typeface="Times New Roman" pitchFamily="18" charset="0"/>
              <a:cs typeface="Arial" pitchFamily="34" charset="0"/>
            </a:rPr>
            <a:t>Attendance Request</a:t>
          </a:r>
        </a:p>
      </dsp:txBody>
      <dsp:txXfrm>
        <a:off x="8738815" y="902427"/>
        <a:ext cx="2015876" cy="26878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9754AE-697F-42A9-9719-8DA05FCEF8D3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2C7473-1509-4028-BC30-349E7D217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135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7A983-4704-4D9A-98C7-187086649296}" type="datetimeFigureOut">
              <a:rPr lang="en-IN" smtClean="0"/>
              <a:t>06-06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9718DD-4AAF-4D8A-BA7D-B91CCB27E3C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6301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718DD-4AAF-4D8A-BA7D-B91CCB27E3C3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11932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heck the leave status on Summary Pag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196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718DD-4AAF-4D8A-BA7D-B91CCB27E3C3}" type="slidenum">
              <a:rPr lang="en-IN" smtClean="0"/>
              <a:t>2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50785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5162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190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7441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540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156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718DD-4AAF-4D8A-BA7D-B91CCB27E3C3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9302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718DD-4AAF-4D8A-BA7D-B91CCB27E3C3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58531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718DD-4AAF-4D8A-BA7D-B91CCB27E3C3}" type="slidenum">
              <a:rPr lang="en-IN" smtClean="0"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95703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718DD-4AAF-4D8A-BA7D-B91CCB27E3C3}" type="slidenum">
              <a:rPr lang="en-IN" smtClean="0"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049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lick on</a:t>
            </a:r>
            <a:r>
              <a:rPr lang="en-US" baseline="0"/>
              <a:t> ‘Leave/Attendance Application/Comp Off” button to apply leave, mark attendance or avail comp off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780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/>
              <a:t>Navigate to Apply Leave/Attendance request page</a:t>
            </a:r>
          </a:p>
          <a:p>
            <a:pPr marL="342900" indent="-342900">
              <a:buAutoNum type="arabicPeriod"/>
            </a:pPr>
            <a:r>
              <a:rPr lang="en-US"/>
              <a:t>Select Leave Type as Earned Leave</a:t>
            </a:r>
          </a:p>
          <a:p>
            <a:pPr marL="342900" indent="-342900">
              <a:buAutoNum type="arabicPeriod"/>
            </a:pPr>
            <a:r>
              <a:rPr lang="en-US"/>
              <a:t>Enter appropriate Leave Reason from</a:t>
            </a:r>
            <a:r>
              <a:rPr lang="en-US" baseline="0"/>
              <a:t> LOV of reasons</a:t>
            </a:r>
            <a:endParaRPr lang="en-US"/>
          </a:p>
          <a:p>
            <a:pPr marL="342900" indent="-342900">
              <a:buAutoNum type="arabicPeriod"/>
            </a:pPr>
            <a:r>
              <a:rPr lang="en-US"/>
              <a:t>Enter Start Date and End Date</a:t>
            </a:r>
          </a:p>
          <a:p>
            <a:pPr marL="342900" indent="-342900">
              <a:buAutoNum type="arabicPeriod"/>
            </a:pPr>
            <a:r>
              <a:rPr lang="en-US"/>
              <a:t>Calculate Duration(Optional)</a:t>
            </a:r>
          </a:p>
          <a:p>
            <a:pPr marL="342900" indent="-342900">
              <a:buAutoNum type="arabicPeriod"/>
            </a:pPr>
            <a:r>
              <a:rPr lang="en-US"/>
              <a:t>Enter Comments (Optional)</a:t>
            </a:r>
          </a:p>
          <a:p>
            <a:pPr marL="342900" indent="-342900">
              <a:buAutoNum type="arabicPeriod"/>
            </a:pPr>
            <a:r>
              <a:rPr lang="en-US"/>
              <a:t>Add Attachment (Optional)</a:t>
            </a:r>
          </a:p>
          <a:p>
            <a:pPr marL="342900" indent="-342900">
              <a:buAutoNum type="arabicPeriod"/>
            </a:pPr>
            <a:r>
              <a:rPr lang="en-US"/>
              <a:t>Click on Next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547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/>
              <a:t>Review the details of the request applied  </a:t>
            </a:r>
          </a:p>
          <a:p>
            <a:pPr marL="342900" indent="-342900">
              <a:buAutoNum type="arabicPeriod"/>
            </a:pPr>
            <a:r>
              <a:rPr lang="en-US"/>
              <a:t>Click on Submit button to send request for approval</a:t>
            </a:r>
          </a:p>
          <a:p>
            <a:pPr marL="342900" indent="-342900">
              <a:buAutoNum type="arabicPeriod"/>
            </a:pPr>
            <a:r>
              <a:rPr lang="en-US"/>
              <a:t>Click on Back button to go back to Leave request pag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495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Verify the approver before submitting the request if needed.</a:t>
            </a:r>
          </a:p>
          <a:p>
            <a:r>
              <a:rPr lang="en-US"/>
              <a:t>The approver name is the employee supervisor.</a:t>
            </a:r>
          </a:p>
          <a:p>
            <a:r>
              <a:rPr lang="en-US"/>
              <a:t>Click on “Submit” button to complete leave reques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B024D-A622-457F-8864-5891FA6559D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337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tif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tif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tif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838"/>
            <a:ext cx="12209991" cy="6869837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182233" y="4175579"/>
            <a:ext cx="6459537" cy="182880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2000">
                <a:solidFill>
                  <a:schemeClr val="accent6"/>
                </a:solidFill>
                <a:latin typeface="+mj-lt"/>
              </a:defRPr>
            </a:lvl1pPr>
            <a:lvl2pPr algn="l">
              <a:defRPr/>
            </a:lvl2pPr>
          </a:lstStyle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182233" y="2008094"/>
            <a:ext cx="6858000" cy="381000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53600" y="475034"/>
            <a:ext cx="1979794" cy="728362"/>
          </a:xfrm>
          <a:prstGeom prst="rect">
            <a:avLst/>
          </a:prstGeom>
        </p:spPr>
      </p:pic>
      <p:sp>
        <p:nvSpPr>
          <p:cNvPr id="10" name="Title 4"/>
          <p:cNvSpPr txBox="1">
            <a:spLocks/>
          </p:cNvSpPr>
          <p:nvPr userDrawn="1"/>
        </p:nvSpPr>
        <p:spPr>
          <a:xfrm>
            <a:off x="457200" y="6408032"/>
            <a:ext cx="5129684" cy="256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800">
                <a:solidFill>
                  <a:srgbClr val="44546A"/>
                </a:solidFill>
                <a:latin typeface="+mn-lt"/>
                <a:ea typeface="Calibri" charset="0"/>
                <a:cs typeface="Calibri" charset="0"/>
              </a:rPr>
              <a:t>® 2017 Copyright </a:t>
            </a:r>
            <a:r>
              <a:rPr lang="en-US" sz="800" err="1">
                <a:solidFill>
                  <a:srgbClr val="44546A"/>
                </a:solidFill>
                <a:latin typeface="+mn-lt"/>
                <a:ea typeface="Calibri" charset="0"/>
                <a:cs typeface="Calibri" charset="0"/>
              </a:rPr>
              <a:t>Genpact</a:t>
            </a:r>
            <a:r>
              <a:rPr lang="en-US" sz="800">
                <a:solidFill>
                  <a:srgbClr val="44546A"/>
                </a:solidFill>
                <a:latin typeface="+mn-lt"/>
                <a:ea typeface="Calibri" charset="0"/>
                <a:cs typeface="Calibri" charset="0"/>
              </a:rPr>
              <a:t>. All Rights Reserved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182233" y="2597150"/>
            <a:ext cx="6876167" cy="1447800"/>
          </a:xfrm>
          <a:prstGeom prst="rect">
            <a:avLst/>
          </a:prstGeom>
        </p:spPr>
        <p:txBody>
          <a:bodyPr/>
          <a:lstStyle>
            <a:lvl1pPr>
              <a:lnSpc>
                <a:spcPts val="5100"/>
              </a:lnSpc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1pPr>
            <a:lvl2pPr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2pPr>
            <a:lvl3pPr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3pPr>
            <a:lvl4pPr>
              <a:defRPr kumimoji="0" lang="en-US" sz="4800" b="0" i="0" u="none" strike="noStrike" kern="1200" cap="none" spc="0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4pPr>
            <a:lvl5pPr>
              <a:defRPr kumimoji="0" lang="en-US" sz="4800" b="0" i="0" u="none" strike="noStrike" kern="1200" cap="none" spc="0" normalizeH="0" baseline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eorgia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39263416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9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rgbClr val="1F497D"/>
                </a:solidFill>
                <a:latin typeface="+mn-lt"/>
              </a:rPr>
              <a:pPr/>
              <a:t>‹#›</a:t>
            </a:fld>
            <a:endParaRPr lang="en-US" b="1">
              <a:solidFill>
                <a:srgbClr val="1F497D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rgbClr val="1F497D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rgbClr val="1F497D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rgbClr val="1F497D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7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8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489202"/>
            <a:ext cx="2592594" cy="36576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.</a:t>
            </a:r>
          </a:p>
        </p:txBody>
      </p:sp>
      <p:sp>
        <p:nvSpPr>
          <p:cNvPr id="13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03402"/>
            <a:ext cx="2592594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3351604" y="2489202"/>
            <a:ext cx="2592594" cy="36576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.</a:t>
            </a:r>
          </a:p>
        </p:txBody>
      </p:sp>
      <p:sp>
        <p:nvSpPr>
          <p:cNvPr id="28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3351604" y="1803402"/>
            <a:ext cx="2592594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endParaRPr lang="en-US"/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6246008" y="2489202"/>
            <a:ext cx="2592594" cy="36576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.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246008" y="1803402"/>
            <a:ext cx="2592594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fr-FR" err="1"/>
              <a:t>Incididunt</a:t>
            </a:r>
            <a:r>
              <a:rPr lang="fr-FR"/>
              <a:t> ut </a:t>
            </a:r>
            <a:r>
              <a:rPr lang="fr-FR" err="1"/>
              <a:t>labore</a:t>
            </a:r>
            <a:r>
              <a:rPr lang="fr-FR"/>
              <a:t> et </a:t>
            </a:r>
            <a:r>
              <a:rPr lang="fr-FR" err="1"/>
              <a:t>dolore</a:t>
            </a:r>
            <a:r>
              <a:rPr lang="fr-FR"/>
              <a:t> magna </a:t>
            </a:r>
            <a:r>
              <a:rPr lang="fr-FR" err="1"/>
              <a:t>aliqua</a:t>
            </a:r>
            <a:endParaRPr lang="en-US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9140412" y="2491293"/>
            <a:ext cx="2592594" cy="36576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.</a:t>
            </a:r>
          </a:p>
        </p:txBody>
      </p:sp>
      <p:sp>
        <p:nvSpPr>
          <p:cNvPr id="43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9140412" y="1805493"/>
            <a:ext cx="2592594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s-ES" err="1"/>
              <a:t>beatae</a:t>
            </a:r>
            <a:r>
              <a:rPr lang="es-ES"/>
              <a:t> vitae dicta </a:t>
            </a:r>
            <a:r>
              <a:rPr lang="es-ES" err="1"/>
              <a:t>sunt</a:t>
            </a:r>
            <a:r>
              <a:rPr lang="es-ES"/>
              <a:t> </a:t>
            </a:r>
            <a:r>
              <a:rPr lang="es-ES" err="1"/>
              <a:t>explicab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825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6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7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8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351315"/>
            <a:ext cx="3352800" cy="13303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ea.</a:t>
            </a:r>
          </a:p>
        </p:txBody>
      </p:sp>
      <p:sp>
        <p:nvSpPr>
          <p:cNvPr id="13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17916"/>
            <a:ext cx="3352800" cy="381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418703" y="2351315"/>
            <a:ext cx="3352800" cy="13303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ea.</a:t>
            </a:r>
          </a:p>
        </p:txBody>
      </p:sp>
      <p:sp>
        <p:nvSpPr>
          <p:cNvPr id="1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418703" y="1817916"/>
            <a:ext cx="3352800" cy="381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8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8380206" y="2351315"/>
            <a:ext cx="3352800" cy="13303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ea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8380206" y="1817916"/>
            <a:ext cx="3352800" cy="381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520846"/>
            <a:ext cx="3352800" cy="13303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ea.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3987447"/>
            <a:ext cx="3352800" cy="381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418703" y="4520846"/>
            <a:ext cx="3352800" cy="13303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ea.</a:t>
            </a:r>
          </a:p>
        </p:txBody>
      </p:sp>
      <p:sp>
        <p:nvSpPr>
          <p:cNvPr id="38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4418703" y="3987447"/>
            <a:ext cx="3352800" cy="381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0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8380206" y="4520846"/>
            <a:ext cx="3352800" cy="13303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ea.</a:t>
            </a:r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8380206" y="3987447"/>
            <a:ext cx="3352800" cy="381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922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8542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460744" y="1828800"/>
            <a:ext cx="11272262" cy="34559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rgbClr val="1F497D"/>
                </a:solidFill>
                <a:latin typeface="+mn-lt"/>
              </a:rPr>
              <a:pPr/>
              <a:t>‹#›</a:t>
            </a:fld>
            <a:endParaRPr lang="en-US" b="1">
              <a:solidFill>
                <a:srgbClr val="1F497D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rgbClr val="1F497D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rgbClr val="1F497D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rgbClr val="1F497D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3940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65346"/>
            <a:ext cx="5482856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1026868"/>
            <a:ext cx="7540256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822752"/>
            <a:ext cx="6404344" cy="34290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>
              <a:defRPr sz="1400">
                <a:solidFill>
                  <a:srgbClr val="073262"/>
                </a:solidFill>
              </a:defRPr>
            </a:lvl2pPr>
            <a:lvl3pPr>
              <a:defRPr sz="1200">
                <a:solidFill>
                  <a:srgbClr val="073262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,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7391400" y="4635802"/>
            <a:ext cx="4343400" cy="533400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05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hart 1: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endParaRPr lang="en-US"/>
          </a:p>
        </p:txBody>
      </p:sp>
      <p:sp>
        <p:nvSpPr>
          <p:cNvPr id="38" name="Chart Placeholder 37"/>
          <p:cNvSpPr>
            <a:spLocks noGrp="1"/>
          </p:cNvSpPr>
          <p:nvPr>
            <p:ph type="chart" sz="quarter" idx="15"/>
          </p:nvPr>
        </p:nvSpPr>
        <p:spPr>
          <a:xfrm>
            <a:off x="7391400" y="1822752"/>
            <a:ext cx="4343400" cy="2691908"/>
          </a:xfrm>
          <a:prstGeom prst="rect">
            <a:avLst/>
          </a:prstGeom>
        </p:spPr>
        <p:txBody>
          <a:bodyPr/>
          <a:lstStyle>
            <a:lvl1pPr>
              <a:defRPr lang="en-IN" sz="1800" dirty="0">
                <a:solidFill>
                  <a:srgbClr val="06316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56388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31857"/>
            <a:ext cx="80772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629400" y="1831957"/>
            <a:ext cx="5105400" cy="5334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7200" y="1846471"/>
            <a:ext cx="6019800" cy="396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6629400" y="2365357"/>
            <a:ext cx="5105400" cy="34290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>
              <a:defRPr sz="1400">
                <a:solidFill>
                  <a:srgbClr val="073262"/>
                </a:solidFill>
              </a:defRPr>
            </a:lvl2pPr>
            <a:lvl3pPr>
              <a:defRPr sz="1200">
                <a:solidFill>
                  <a:srgbClr val="073262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,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783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59436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31857"/>
            <a:ext cx="10435834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831957"/>
            <a:ext cx="5105400" cy="5334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715000" y="1831957"/>
            <a:ext cx="6019800" cy="396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65357"/>
            <a:ext cx="5105400" cy="34290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>
              <a:defRPr sz="1400">
                <a:solidFill>
                  <a:srgbClr val="073262"/>
                </a:solidFill>
              </a:defRPr>
            </a:lvl2pPr>
            <a:lvl3pPr>
              <a:defRPr sz="1200">
                <a:solidFill>
                  <a:srgbClr val="073262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, </a:t>
            </a:r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367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62484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31857"/>
            <a:ext cx="92964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029980"/>
            <a:ext cx="3505200" cy="53455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4594" y="1827647"/>
            <a:ext cx="3497806" cy="20585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564533"/>
            <a:ext cx="3505200" cy="17491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1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227806" y="4029980"/>
            <a:ext cx="3505200" cy="53455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235200" y="1827647"/>
            <a:ext cx="3497806" cy="20585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8227806" y="4564533"/>
            <a:ext cx="3505200" cy="17491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331412" y="4029980"/>
            <a:ext cx="3505200" cy="53455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338806" y="1827647"/>
            <a:ext cx="3497806" cy="20585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331412" y="4564533"/>
            <a:ext cx="3505200" cy="17491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59645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460357"/>
            <a:ext cx="5480873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31857"/>
            <a:ext cx="10134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392964" y="4101060"/>
            <a:ext cx="2709930" cy="389620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4594" y="1827647"/>
            <a:ext cx="2576012" cy="20585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498147"/>
            <a:ext cx="2581458" cy="17491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1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6181498" y="4101060"/>
            <a:ext cx="2732072" cy="389620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259528" y="1827647"/>
            <a:ext cx="2576012" cy="20585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259528" y="4498147"/>
            <a:ext cx="2581458" cy="17491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291939" y="4101060"/>
            <a:ext cx="2729860" cy="389620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362061" y="1827647"/>
            <a:ext cx="2576012" cy="20585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3366140" y="4498147"/>
            <a:ext cx="2581458" cy="17491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16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9073269" y="4101060"/>
            <a:ext cx="2737600" cy="389620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9156994" y="1827647"/>
            <a:ext cx="2576012" cy="20585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en-IN"/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9149600" y="4498147"/>
            <a:ext cx="2581458" cy="174912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846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7251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468090"/>
            <a:ext cx="4114800" cy="5334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3200">
                <a:solidFill>
                  <a:schemeClr val="bg1"/>
                </a:solidFill>
              </a:rPr>
              <a:t>Agenda</a:t>
            </a:r>
            <a:r>
              <a:rPr lang="ko-KR" altLang="en-US" sz="3200">
                <a:solidFill>
                  <a:schemeClr val="bg1"/>
                </a:solidFill>
              </a:rPr>
              <a:t> </a:t>
            </a:r>
            <a:r>
              <a:rPr lang="en-US" altLang="ko-KR" sz="3200">
                <a:solidFill>
                  <a:schemeClr val="bg1"/>
                </a:solidFill>
              </a:rPr>
              <a:t>opt 1</a:t>
            </a:r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2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4" y="1828800"/>
            <a:ext cx="9067800" cy="43434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rPr>
              <a:t>amet</a:t>
            </a:r>
            <a:r>
              <a:rPr lang="en-US"/>
              <a:t>						1</a:t>
            </a: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>
              <a:solidFill>
                <a:schemeClr val="bg1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7232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74119" y="4641562"/>
            <a:ext cx="2045424" cy="148127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.</a:t>
            </a:r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474119" y="3924011"/>
            <a:ext cx="2045424" cy="359637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8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474118" y="1844297"/>
            <a:ext cx="2045425" cy="195436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62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63" name="TextBox 62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4" name="Picture 6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65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460357"/>
            <a:ext cx="5525805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66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31857"/>
            <a:ext cx="81534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67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74119" y="4344555"/>
            <a:ext cx="2045424" cy="29700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68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2777484" y="1844297"/>
            <a:ext cx="2045425" cy="195436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69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5080850" y="1844297"/>
            <a:ext cx="2045425" cy="195436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7384216" y="1844297"/>
            <a:ext cx="2045425" cy="195436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71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9687581" y="1844297"/>
            <a:ext cx="2045425" cy="195436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72" name="Text Placeholder 22"/>
          <p:cNvSpPr>
            <a:spLocks noGrp="1"/>
          </p:cNvSpPr>
          <p:nvPr>
            <p:ph type="body" sz="quarter" idx="26" hasCustomPrompt="1"/>
          </p:nvPr>
        </p:nvSpPr>
        <p:spPr>
          <a:xfrm>
            <a:off x="2777485" y="4641562"/>
            <a:ext cx="2045424" cy="148127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.</a:t>
            </a:r>
          </a:p>
        </p:txBody>
      </p:sp>
      <p:sp>
        <p:nvSpPr>
          <p:cNvPr id="73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2777485" y="3924011"/>
            <a:ext cx="2045424" cy="359637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8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74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2777485" y="4344555"/>
            <a:ext cx="2045424" cy="29700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5080851" y="4641562"/>
            <a:ext cx="2045424" cy="148127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.</a:t>
            </a:r>
          </a:p>
        </p:txBody>
      </p:sp>
      <p:sp>
        <p:nvSpPr>
          <p:cNvPr id="76" name="Text Placeholder 22"/>
          <p:cNvSpPr>
            <a:spLocks noGrp="1"/>
          </p:cNvSpPr>
          <p:nvPr>
            <p:ph type="body" sz="quarter" idx="30" hasCustomPrompt="1"/>
          </p:nvPr>
        </p:nvSpPr>
        <p:spPr>
          <a:xfrm>
            <a:off x="5080851" y="3924011"/>
            <a:ext cx="2045424" cy="359637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8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77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5080851" y="4344555"/>
            <a:ext cx="2045424" cy="29700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8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7384216" y="4641562"/>
            <a:ext cx="2045424" cy="148127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.</a:t>
            </a:r>
          </a:p>
        </p:txBody>
      </p:sp>
      <p:sp>
        <p:nvSpPr>
          <p:cNvPr id="79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7384216" y="3924011"/>
            <a:ext cx="2045424" cy="359637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8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80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7384216" y="4344555"/>
            <a:ext cx="2045424" cy="29700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81" name="Text Placehold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9687582" y="4641562"/>
            <a:ext cx="2045424" cy="148127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.</a:t>
            </a:r>
          </a:p>
        </p:txBody>
      </p:sp>
      <p:sp>
        <p:nvSpPr>
          <p:cNvPr id="82" name="Text Placeholder 22"/>
          <p:cNvSpPr>
            <a:spLocks noGrp="1"/>
          </p:cNvSpPr>
          <p:nvPr>
            <p:ph type="body" sz="quarter" idx="36" hasCustomPrompt="1"/>
          </p:nvPr>
        </p:nvSpPr>
        <p:spPr>
          <a:xfrm>
            <a:off x="9687582" y="3924011"/>
            <a:ext cx="2045424" cy="359637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800" baseline="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83" name="Text Placeholder 22"/>
          <p:cNvSpPr>
            <a:spLocks noGrp="1"/>
          </p:cNvSpPr>
          <p:nvPr>
            <p:ph type="body" sz="quarter" idx="37" hasCustomPrompt="1"/>
          </p:nvPr>
        </p:nvSpPr>
        <p:spPr>
          <a:xfrm>
            <a:off x="9687582" y="4344555"/>
            <a:ext cx="2045424" cy="29700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41322135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f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9310" y="3417088"/>
            <a:ext cx="1922906" cy="142933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572000" y="2729998"/>
            <a:ext cx="801213" cy="16609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10800000">
            <a:off x="6818787" y="2729998"/>
            <a:ext cx="801213" cy="166096"/>
          </a:xfrm>
          <a:prstGeom prst="rect">
            <a:avLst/>
          </a:prstGeom>
        </p:spPr>
      </p:pic>
      <p:sp>
        <p:nvSpPr>
          <p:cNvPr id="20" name="Picture Placeholder 4"/>
          <p:cNvSpPr>
            <a:spLocks noGrp="1"/>
          </p:cNvSpPr>
          <p:nvPr userDrawn="1">
            <p:ph type="pic" sz="quarter" idx="17"/>
          </p:nvPr>
        </p:nvSpPr>
        <p:spPr>
          <a:xfrm>
            <a:off x="5595938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856809" y="3511549"/>
            <a:ext cx="8487908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.</a:t>
            </a:r>
          </a:p>
        </p:txBody>
      </p:sp>
      <p:sp>
        <p:nvSpPr>
          <p:cNvPr id="26" name="Text Placeholder 22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630370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27" name="Text Placeholder 22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630370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45" name="Text Placeholder 2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7200" y="460357"/>
            <a:ext cx="68580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46" name="Text Placeholder 2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022785"/>
            <a:ext cx="9372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9413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f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69124" y="3417088"/>
            <a:ext cx="1922906" cy="14293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2028" y="3417088"/>
            <a:ext cx="1922906" cy="142933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544677" y="2729998"/>
            <a:ext cx="801213" cy="16609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10800000">
            <a:off x="6715264" y="2729998"/>
            <a:ext cx="801213" cy="166096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 userDrawn="1">
            <p:ph type="pic" sz="quarter" idx="13"/>
          </p:nvPr>
        </p:nvSpPr>
        <p:spPr>
          <a:xfrm>
            <a:off x="1949081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24" name="Text Placeholder 2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83513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68006" y="2729998"/>
            <a:ext cx="801213" cy="166096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10800000">
            <a:off x="3138593" y="2729998"/>
            <a:ext cx="801213" cy="166096"/>
          </a:xfrm>
          <a:prstGeom prst="rect">
            <a:avLst/>
          </a:prstGeom>
        </p:spPr>
      </p:pic>
      <p:sp>
        <p:nvSpPr>
          <p:cNvPr id="37" name="Text Placeholder 2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83513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36" name="Text Placeholder 22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83513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20" name="Picture Placeholder 4"/>
          <p:cNvSpPr>
            <a:spLocks noGrp="1"/>
          </p:cNvSpPr>
          <p:nvPr userDrawn="1">
            <p:ph type="pic" sz="quarter" idx="17"/>
          </p:nvPr>
        </p:nvSpPr>
        <p:spPr>
          <a:xfrm>
            <a:off x="5525752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560184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sp>
        <p:nvSpPr>
          <p:cNvPr id="26" name="Text Placeholder 22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560184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27" name="Text Placeholder 22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560184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33" name="Picture Placeholder 4"/>
          <p:cNvSpPr>
            <a:spLocks noGrp="1"/>
          </p:cNvSpPr>
          <p:nvPr userDrawn="1">
            <p:ph type="pic" sz="quarter" idx="21"/>
          </p:nvPr>
        </p:nvSpPr>
        <p:spPr>
          <a:xfrm>
            <a:off x="9106148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125073" y="2729998"/>
            <a:ext cx="801213" cy="16609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10800000">
            <a:off x="10295660" y="2729998"/>
            <a:ext cx="801213" cy="166096"/>
          </a:xfrm>
          <a:prstGeom prst="rect">
            <a:avLst/>
          </a:prstGeom>
        </p:spPr>
      </p:pic>
      <p:sp>
        <p:nvSpPr>
          <p:cNvPr id="41" name="Text Placeholder 22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8140580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42" name="Text Placeholder 22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8140580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45" name="Text Placeholder 2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7200" y="460357"/>
            <a:ext cx="68580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46" name="Text Placeholder 2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022785"/>
            <a:ext cx="9372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49520" y="3417088"/>
            <a:ext cx="1922906" cy="1429333"/>
          </a:xfrm>
          <a:prstGeom prst="rect">
            <a:avLst/>
          </a:prstGeom>
        </p:spPr>
      </p:pic>
      <p:sp>
        <p:nvSpPr>
          <p:cNvPr id="38" name="Text Placeholder 22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8140580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accent3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213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for 1 with Background Colo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1"/>
            <a:ext cx="12201524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68580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22785"/>
            <a:ext cx="9372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5595938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09626" y="3429494"/>
            <a:ext cx="2182275" cy="1616933"/>
          </a:xfrm>
          <a:prstGeom prst="rect">
            <a:avLst/>
          </a:prstGeom>
        </p:spPr>
      </p:pic>
      <p:sp>
        <p:nvSpPr>
          <p:cNvPr id="24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882814" y="3511549"/>
            <a:ext cx="8435899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000" y="2729998"/>
            <a:ext cx="801213" cy="166096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6818787" y="2729998"/>
            <a:ext cx="801213" cy="166096"/>
          </a:xfrm>
          <a:prstGeom prst="rect">
            <a:avLst/>
          </a:prstGeom>
        </p:spPr>
      </p:pic>
      <p:sp>
        <p:nvSpPr>
          <p:cNvPr id="3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882814" y="5387139"/>
            <a:ext cx="8435899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1882814" y="5086350"/>
            <a:ext cx="8435899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20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866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for 1 with Background Colo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3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4547" y="3356228"/>
            <a:ext cx="1922906" cy="1429333"/>
          </a:xfrm>
          <a:prstGeom prst="rect">
            <a:avLst/>
          </a:prstGeom>
        </p:spPr>
      </p:pic>
      <p:sp>
        <p:nvSpPr>
          <p:cNvPr id="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68580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22785"/>
            <a:ext cx="9372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5591175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878051" y="3511549"/>
            <a:ext cx="8435899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.</a:t>
            </a:r>
          </a:p>
        </p:txBody>
      </p:sp>
      <p:sp>
        <p:nvSpPr>
          <p:cNvPr id="3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878051" y="5387139"/>
            <a:ext cx="8435899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1878051" y="5086350"/>
            <a:ext cx="8435899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20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000" y="2729998"/>
            <a:ext cx="801213" cy="16609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6818787" y="2729998"/>
            <a:ext cx="801213" cy="166096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888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for 3 with Background Colo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1"/>
            <a:ext cx="12201524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677" y="2729998"/>
            <a:ext cx="2971800" cy="2316429"/>
            <a:chOff x="4234880" y="2729998"/>
            <a:chExt cx="2971800" cy="2316429"/>
          </a:xfrm>
        </p:grpSpPr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629641" y="3429494"/>
              <a:ext cx="2182275" cy="1616933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234880" y="2729998"/>
              <a:ext cx="801213" cy="166096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6405467" y="2729998"/>
              <a:ext cx="801213" cy="166096"/>
            </a:xfrm>
            <a:prstGeom prst="rect">
              <a:avLst/>
            </a:prstGeom>
          </p:spPr>
        </p:pic>
      </p:grp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949081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2767" y="3429494"/>
            <a:ext cx="2182275" cy="1616933"/>
          </a:xfrm>
          <a:prstGeom prst="rect">
            <a:avLst/>
          </a:prstGeom>
        </p:spPr>
      </p:pic>
      <p:sp>
        <p:nvSpPr>
          <p:cNvPr id="24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983513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006" y="2729998"/>
            <a:ext cx="801213" cy="166096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3138593" y="2729998"/>
            <a:ext cx="801213" cy="166096"/>
          </a:xfrm>
          <a:prstGeom prst="rect">
            <a:avLst/>
          </a:prstGeom>
        </p:spPr>
      </p:pic>
      <p:sp>
        <p:nvSpPr>
          <p:cNvPr id="3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983513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983513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5525752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4560184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560184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560184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9106148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9834" y="3429494"/>
            <a:ext cx="2182275" cy="1616933"/>
          </a:xfrm>
          <a:prstGeom prst="rect">
            <a:avLst/>
          </a:prstGeom>
        </p:spPr>
      </p:pic>
      <p:sp>
        <p:nvSpPr>
          <p:cNvPr id="38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8140580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25073" y="2729998"/>
            <a:ext cx="801213" cy="16609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10295660" y="2729998"/>
            <a:ext cx="801213" cy="166096"/>
          </a:xfrm>
          <a:prstGeom prst="rect">
            <a:avLst/>
          </a:prstGeom>
        </p:spPr>
      </p:pic>
      <p:sp>
        <p:nvSpPr>
          <p:cNvPr id="4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8140580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42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8140580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45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60357"/>
            <a:ext cx="68580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46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22785"/>
            <a:ext cx="9372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1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TextBox 31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6870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for 3 with Background Colo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3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646" y="3356228"/>
            <a:ext cx="1922906" cy="142933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44677" y="2729998"/>
            <a:ext cx="801213" cy="16609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6715264" y="2729998"/>
            <a:ext cx="801213" cy="166096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 userDrawn="1">
            <p:ph type="pic" sz="quarter" idx="13"/>
          </p:nvPr>
        </p:nvSpPr>
        <p:spPr>
          <a:xfrm>
            <a:off x="1949081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006" y="2729998"/>
            <a:ext cx="801213" cy="166096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3138593" y="2729998"/>
            <a:ext cx="801213" cy="166096"/>
          </a:xfrm>
          <a:prstGeom prst="rect">
            <a:avLst/>
          </a:prstGeom>
        </p:spPr>
      </p:pic>
      <p:sp>
        <p:nvSpPr>
          <p:cNvPr id="37" name="Text Placeholder 2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83513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36" name="Text Placeholder 22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83513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20" name="Picture Placeholder 4"/>
          <p:cNvSpPr>
            <a:spLocks noGrp="1"/>
          </p:cNvSpPr>
          <p:nvPr userDrawn="1">
            <p:ph type="pic" sz="quarter" idx="17"/>
          </p:nvPr>
        </p:nvSpPr>
        <p:spPr>
          <a:xfrm>
            <a:off x="5525752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22" name="Text Placeholder 2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560184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sp>
        <p:nvSpPr>
          <p:cNvPr id="26" name="Text Placeholder 22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560184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27" name="Text Placeholder 22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560184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33" name="Picture Placeholder 4"/>
          <p:cNvSpPr>
            <a:spLocks noGrp="1"/>
          </p:cNvSpPr>
          <p:nvPr userDrawn="1">
            <p:ph type="pic" sz="quarter" idx="21"/>
          </p:nvPr>
        </p:nvSpPr>
        <p:spPr>
          <a:xfrm>
            <a:off x="9106148" y="2308225"/>
            <a:ext cx="1009650" cy="100965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25073" y="2729998"/>
            <a:ext cx="801213" cy="16609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10295660" y="2729998"/>
            <a:ext cx="801213" cy="166096"/>
          </a:xfrm>
          <a:prstGeom prst="rect">
            <a:avLst/>
          </a:prstGeom>
        </p:spPr>
      </p:pic>
      <p:sp>
        <p:nvSpPr>
          <p:cNvPr id="41" name="Text Placeholder 22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8140580" y="5387139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mpany name</a:t>
            </a:r>
          </a:p>
        </p:txBody>
      </p:sp>
      <p:sp>
        <p:nvSpPr>
          <p:cNvPr id="42" name="Text Placeholder 22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8140580" y="5086350"/>
            <a:ext cx="2940786" cy="324343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800" spc="6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Name of person</a:t>
            </a:r>
          </a:p>
        </p:txBody>
      </p:sp>
      <p:sp>
        <p:nvSpPr>
          <p:cNvPr id="45" name="Text Placeholder 2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7200" y="460357"/>
            <a:ext cx="6858000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46" name="Text Placeholder 2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022785"/>
            <a:ext cx="93726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49520" y="3356228"/>
            <a:ext cx="1922906" cy="1429333"/>
          </a:xfrm>
          <a:prstGeom prst="rect">
            <a:avLst/>
          </a:prstGeom>
        </p:spPr>
      </p:pic>
      <p:sp>
        <p:nvSpPr>
          <p:cNvPr id="38" name="Text Placeholder 22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8140580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2453" y="3356228"/>
            <a:ext cx="1922906" cy="1429333"/>
          </a:xfrm>
          <a:prstGeom prst="rect">
            <a:avLst/>
          </a:prstGeom>
        </p:spPr>
      </p:pic>
      <p:sp>
        <p:nvSpPr>
          <p:cNvPr id="24" name="Text Placeholder 2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83513" y="3511549"/>
            <a:ext cx="2940786" cy="1289051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.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842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aceholder for 1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5994400" y="2362200"/>
            <a:ext cx="5738606" cy="37757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60744" y="2362200"/>
            <a:ext cx="5533657" cy="37757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0" name="Triangle 3"/>
          <p:cNvSpPr/>
          <p:nvPr userDrawn="1"/>
        </p:nvSpPr>
        <p:spPr>
          <a:xfrm rot="5400000">
            <a:off x="4310417" y="4039485"/>
            <a:ext cx="3816697" cy="44873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0744" y="1967993"/>
            <a:ext cx="5533656" cy="244578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5994400" y="1967993"/>
            <a:ext cx="5738606" cy="244578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48977" y="2816051"/>
            <a:ext cx="4419600" cy="2895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.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781800" y="2816051"/>
            <a:ext cx="4419600" cy="2895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.</a:t>
            </a:r>
          </a:p>
        </p:txBody>
      </p:sp>
    </p:spTree>
    <p:extLst>
      <p:ext uri="{BB962C8B-B14F-4D97-AF65-F5344CB8AC3E}">
        <p14:creationId xmlns:p14="http://schemas.microsoft.com/office/powerpoint/2010/main" val="37484189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aceholder for 1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5994400" y="2362200"/>
            <a:ext cx="5738606" cy="37757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60744" y="2362200"/>
            <a:ext cx="5533657" cy="37757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0" name="Triangle 3"/>
          <p:cNvSpPr/>
          <p:nvPr userDrawn="1"/>
        </p:nvSpPr>
        <p:spPr>
          <a:xfrm rot="5400000">
            <a:off x="4310417" y="4039485"/>
            <a:ext cx="3816697" cy="44873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0744" y="1967993"/>
            <a:ext cx="5533656" cy="244578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5994400" y="1967993"/>
            <a:ext cx="5738606" cy="244578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48977" y="2816051"/>
            <a:ext cx="4419600" cy="2895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.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781800" y="2816051"/>
            <a:ext cx="4419600" cy="2895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provident.</a:t>
            </a:r>
          </a:p>
        </p:txBody>
      </p:sp>
    </p:spTree>
    <p:extLst>
      <p:ext uri="{BB962C8B-B14F-4D97-AF65-F5344CB8AC3E}">
        <p14:creationId xmlns:p14="http://schemas.microsoft.com/office/powerpoint/2010/main" val="40220959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aceholder for 3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5994400" y="2362200"/>
            <a:ext cx="5738606" cy="12336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60744" y="2362200"/>
            <a:ext cx="5533657" cy="1233639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73261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0" name="Triangle 3"/>
          <p:cNvSpPr/>
          <p:nvPr userDrawn="1"/>
        </p:nvSpPr>
        <p:spPr>
          <a:xfrm rot="5400000">
            <a:off x="5595250" y="2754653"/>
            <a:ext cx="1247033" cy="448733"/>
          </a:xfrm>
          <a:prstGeom prst="triangle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5994400" y="3644294"/>
            <a:ext cx="5738606" cy="12336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460744" y="3644294"/>
            <a:ext cx="5533657" cy="1233639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73261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994400" y="4925949"/>
            <a:ext cx="5738606" cy="12336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0744" y="1967993"/>
            <a:ext cx="5533656" cy="244578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5994400" y="1967993"/>
            <a:ext cx="5738606" cy="244578"/>
          </a:xfrm>
          <a:prstGeom prst="rect">
            <a:avLst/>
          </a:prstGeom>
        </p:spPr>
        <p:txBody>
          <a:bodyPr anchor="ctr"/>
          <a:lstStyle>
            <a:lvl1pPr algn="ctr"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22" name="Triangle 3"/>
          <p:cNvSpPr/>
          <p:nvPr userDrawn="1"/>
        </p:nvSpPr>
        <p:spPr>
          <a:xfrm rot="5400000">
            <a:off x="5595250" y="4045254"/>
            <a:ext cx="1247033" cy="448733"/>
          </a:xfrm>
          <a:prstGeom prst="triangle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riangle 3"/>
          <p:cNvSpPr/>
          <p:nvPr userDrawn="1"/>
        </p:nvSpPr>
        <p:spPr>
          <a:xfrm rot="5400000">
            <a:off x="5595250" y="5318402"/>
            <a:ext cx="1247033" cy="448733"/>
          </a:xfrm>
          <a:prstGeom prst="triangle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781800" y="2674219"/>
            <a:ext cx="4419600" cy="609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IN"/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781800" y="3953834"/>
            <a:ext cx="4419600" cy="609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IN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781800" y="5237968"/>
            <a:ext cx="4419600" cy="609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IN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801872" y="2674219"/>
            <a:ext cx="5029200" cy="609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063161"/>
                </a:solidFill>
              </a:defRPr>
            </a:lvl1pPr>
            <a:lvl2pPr>
              <a:defRPr>
                <a:solidFill>
                  <a:srgbClr val="063161"/>
                </a:solidFill>
              </a:defRPr>
            </a:lvl2pPr>
            <a:lvl3pPr>
              <a:defRPr>
                <a:solidFill>
                  <a:srgbClr val="063161"/>
                </a:solidFill>
              </a:defRPr>
            </a:lvl3pPr>
            <a:lvl4pPr>
              <a:defRPr>
                <a:solidFill>
                  <a:srgbClr val="063161"/>
                </a:solidFill>
              </a:defRPr>
            </a:lvl4pPr>
            <a:lvl5pPr>
              <a:defRPr>
                <a:solidFill>
                  <a:srgbClr val="06316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IN"/>
          </a:p>
        </p:txBody>
      </p:sp>
      <p:sp>
        <p:nvSpPr>
          <p:cNvPr id="32" name="Rectangle 31"/>
          <p:cNvSpPr/>
          <p:nvPr userDrawn="1"/>
        </p:nvSpPr>
        <p:spPr>
          <a:xfrm>
            <a:off x="460744" y="4925949"/>
            <a:ext cx="5533657" cy="1233639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73261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22" hasCustomPrompt="1"/>
          </p:nvPr>
        </p:nvSpPr>
        <p:spPr>
          <a:xfrm>
            <a:off x="801872" y="3951528"/>
            <a:ext cx="5029200" cy="609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063161"/>
                </a:solidFill>
              </a:defRPr>
            </a:lvl1pPr>
            <a:lvl2pPr>
              <a:defRPr>
                <a:solidFill>
                  <a:srgbClr val="063161"/>
                </a:solidFill>
              </a:defRPr>
            </a:lvl2pPr>
            <a:lvl3pPr>
              <a:defRPr>
                <a:solidFill>
                  <a:srgbClr val="063161"/>
                </a:solidFill>
              </a:defRPr>
            </a:lvl3pPr>
            <a:lvl4pPr>
              <a:defRPr>
                <a:solidFill>
                  <a:srgbClr val="063161"/>
                </a:solidFill>
              </a:defRPr>
            </a:lvl4pPr>
            <a:lvl5pPr>
              <a:defRPr>
                <a:solidFill>
                  <a:srgbClr val="06316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IN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801872" y="5237968"/>
            <a:ext cx="5029200" cy="609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063161"/>
                </a:solidFill>
              </a:defRPr>
            </a:lvl1pPr>
            <a:lvl2pPr>
              <a:defRPr>
                <a:solidFill>
                  <a:srgbClr val="063161"/>
                </a:solidFill>
              </a:defRPr>
            </a:lvl2pPr>
            <a:lvl3pPr>
              <a:defRPr>
                <a:solidFill>
                  <a:srgbClr val="063161"/>
                </a:solidFill>
              </a:defRPr>
            </a:lvl3pPr>
            <a:lvl4pPr>
              <a:defRPr>
                <a:solidFill>
                  <a:srgbClr val="063161"/>
                </a:solidFill>
              </a:defRPr>
            </a:lvl4pPr>
            <a:lvl5pPr>
              <a:defRPr>
                <a:solidFill>
                  <a:srgbClr val="06316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7060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468090"/>
            <a:ext cx="4114800" cy="5334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3200">
                <a:solidFill>
                  <a:schemeClr val="bg1"/>
                </a:solidFill>
              </a:rPr>
              <a:t>Agenda</a:t>
            </a:r>
            <a:r>
              <a:rPr lang="ko-KR" altLang="en-US" sz="3200">
                <a:solidFill>
                  <a:schemeClr val="bg1"/>
                </a:solidFill>
              </a:rPr>
              <a:t> </a:t>
            </a:r>
            <a:r>
              <a:rPr lang="en-US" altLang="ko-KR" sz="3200">
                <a:solidFill>
                  <a:schemeClr val="bg1"/>
                </a:solidFill>
              </a:rPr>
              <a:t>opt 1</a:t>
            </a:r>
            <a:endParaRPr lang="en-US" sz="3200">
              <a:solidFill>
                <a:schemeClr val="bg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2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4" y="1828800"/>
            <a:ext cx="9067800" cy="43434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					1</a:t>
            </a:r>
          </a:p>
          <a:p>
            <a:pPr lvl="2"/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8687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aceholder for 3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>
          <a:xfrm>
            <a:off x="4097868" y="1928160"/>
            <a:ext cx="7635138" cy="1233639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5" name="Parallelogram 24"/>
          <p:cNvSpPr/>
          <p:nvPr userDrawn="1"/>
        </p:nvSpPr>
        <p:spPr>
          <a:xfrm>
            <a:off x="3617383" y="1928160"/>
            <a:ext cx="960968" cy="1233639"/>
          </a:xfrm>
          <a:prstGeom prst="parallelogram">
            <a:avLst>
              <a:gd name="adj" fmla="val 4909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066800" y="1928160"/>
            <a:ext cx="3031067" cy="12336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457201" y="1928160"/>
            <a:ext cx="609599" cy="12336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097868" y="3356039"/>
            <a:ext cx="7635138" cy="1233639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9" name="Parallelogram 28"/>
          <p:cNvSpPr/>
          <p:nvPr userDrawn="1"/>
        </p:nvSpPr>
        <p:spPr>
          <a:xfrm>
            <a:off x="3617383" y="3356039"/>
            <a:ext cx="960968" cy="1233639"/>
          </a:xfrm>
          <a:prstGeom prst="parallelogram">
            <a:avLst>
              <a:gd name="adj" fmla="val 4909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1066800" y="3356039"/>
            <a:ext cx="3031067" cy="12336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457201" y="3356039"/>
            <a:ext cx="609599" cy="12336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4097868" y="4783918"/>
            <a:ext cx="7635138" cy="1233639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3" name="Parallelogram 32"/>
          <p:cNvSpPr/>
          <p:nvPr userDrawn="1"/>
        </p:nvSpPr>
        <p:spPr>
          <a:xfrm>
            <a:off x="3617383" y="4783918"/>
            <a:ext cx="960968" cy="1233639"/>
          </a:xfrm>
          <a:prstGeom prst="parallelogram">
            <a:avLst>
              <a:gd name="adj" fmla="val 4909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1066800" y="4783918"/>
            <a:ext cx="3031067" cy="12336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457201" y="4783918"/>
            <a:ext cx="609599" cy="12336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256784"/>
            <a:ext cx="619763" cy="571440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IN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691632"/>
            <a:ext cx="609599" cy="569421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  <a:endParaRPr lang="en-IN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901745"/>
            <a:ext cx="609599" cy="90501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648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  <a:endParaRPr lang="en-IN"/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2256783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1219200" y="3684662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1219200" y="5112541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796526" y="2256783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endParaRPr lang="en-US"/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96526" y="3684662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endParaRPr lang="en-US"/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96526" y="5117829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5566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aceholder for 3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0" y="1945849"/>
            <a:ext cx="11275806" cy="57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>
                <a:noFill/>
              </a:ln>
            </a:endParaRPr>
          </a:p>
        </p:txBody>
      </p:sp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457199" y="2559541"/>
            <a:ext cx="3522121" cy="3486150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9" name="Parallelogram 28"/>
          <p:cNvSpPr/>
          <p:nvPr userDrawn="1"/>
        </p:nvSpPr>
        <p:spPr>
          <a:xfrm>
            <a:off x="3174109" y="2559542"/>
            <a:ext cx="805212" cy="800456"/>
          </a:xfrm>
          <a:prstGeom prst="parallelogram">
            <a:avLst>
              <a:gd name="adj" fmla="val 4909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64595" y="2559542"/>
            <a:ext cx="3095876" cy="8004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54" name="Text Placeholder 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1945849"/>
            <a:ext cx="11275806" cy="571440"/>
          </a:xfrm>
          <a:prstGeom prst="rect">
            <a:avLst/>
          </a:prstGeo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endParaRPr lang="en-IN"/>
          </a:p>
        </p:txBody>
      </p:sp>
      <p:sp>
        <p:nvSpPr>
          <p:cNvPr id="55" name="Text Placeholder 5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09600" y="2671575"/>
            <a:ext cx="3192469" cy="576391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56" name="Text Placeholder 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09600" y="3473181"/>
            <a:ext cx="3192469" cy="2572510"/>
          </a:xfrm>
          <a:prstGeom prst="rect">
            <a:avLst/>
          </a:prstGeom>
        </p:spPr>
        <p:txBody>
          <a:bodyPr anchor="t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endParaRPr lang="en-US"/>
          </a:p>
        </p:txBody>
      </p:sp>
      <p:sp>
        <p:nvSpPr>
          <p:cNvPr id="79" name="Rectangle 78"/>
          <p:cNvSpPr/>
          <p:nvPr userDrawn="1"/>
        </p:nvSpPr>
        <p:spPr>
          <a:xfrm>
            <a:off x="8210884" y="2559541"/>
            <a:ext cx="3522122" cy="3486150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0" name="Parallelogram 79"/>
          <p:cNvSpPr/>
          <p:nvPr userDrawn="1"/>
        </p:nvSpPr>
        <p:spPr>
          <a:xfrm>
            <a:off x="10927794" y="2559542"/>
            <a:ext cx="805212" cy="800456"/>
          </a:xfrm>
          <a:prstGeom prst="parallelogram">
            <a:avLst>
              <a:gd name="adj" fmla="val 4909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Rectangle 80"/>
          <p:cNvSpPr/>
          <p:nvPr userDrawn="1"/>
        </p:nvSpPr>
        <p:spPr>
          <a:xfrm>
            <a:off x="8218280" y="2559542"/>
            <a:ext cx="3095876" cy="800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82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363285" y="2671575"/>
            <a:ext cx="3192469" cy="576391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8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8363285" y="3473181"/>
            <a:ext cx="3192469" cy="2572510"/>
          </a:xfrm>
          <a:prstGeom prst="rect">
            <a:avLst/>
          </a:prstGeom>
        </p:spPr>
        <p:txBody>
          <a:bodyPr anchor="t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endParaRPr lang="en-US"/>
          </a:p>
        </p:txBody>
      </p:sp>
      <p:sp>
        <p:nvSpPr>
          <p:cNvPr id="84" name="Rectangle 83"/>
          <p:cNvSpPr/>
          <p:nvPr userDrawn="1"/>
        </p:nvSpPr>
        <p:spPr>
          <a:xfrm>
            <a:off x="4334041" y="2559541"/>
            <a:ext cx="3522122" cy="3486150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5" name="Parallelogram 84"/>
          <p:cNvSpPr/>
          <p:nvPr userDrawn="1"/>
        </p:nvSpPr>
        <p:spPr>
          <a:xfrm>
            <a:off x="7050951" y="2559542"/>
            <a:ext cx="805212" cy="800456"/>
          </a:xfrm>
          <a:prstGeom prst="parallelogram">
            <a:avLst>
              <a:gd name="adj" fmla="val 4909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Rectangle 85"/>
          <p:cNvSpPr/>
          <p:nvPr userDrawn="1"/>
        </p:nvSpPr>
        <p:spPr>
          <a:xfrm>
            <a:off x="4341437" y="2559542"/>
            <a:ext cx="3095876" cy="8004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8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4486442" y="2671575"/>
            <a:ext cx="3192469" cy="576391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8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486442" y="3473181"/>
            <a:ext cx="3192469" cy="2572510"/>
          </a:xfrm>
          <a:prstGeom prst="rect">
            <a:avLst/>
          </a:prstGeom>
        </p:spPr>
        <p:txBody>
          <a:bodyPr anchor="t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6187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aceholder fo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0" y="1945849"/>
            <a:ext cx="11275806" cy="57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n>
                <a:noFill/>
              </a:ln>
            </a:endParaRPr>
          </a:p>
        </p:txBody>
      </p:sp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457199" y="2559541"/>
            <a:ext cx="2740483" cy="3695210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64596" y="2559542"/>
            <a:ext cx="2330480" cy="8004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54" name="Text Placeholder 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0" y="1945849"/>
            <a:ext cx="11275806" cy="571440"/>
          </a:xfrm>
          <a:prstGeom prst="rect">
            <a:avLst/>
          </a:prstGeo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endParaRPr lang="en-IN"/>
          </a:p>
        </p:txBody>
      </p:sp>
      <p:sp>
        <p:nvSpPr>
          <p:cNvPr id="56" name="Text Placeholder 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09601" y="3473181"/>
            <a:ext cx="2377257" cy="2572510"/>
          </a:xfrm>
          <a:prstGeom prst="rect">
            <a:avLst/>
          </a:prstGeom>
        </p:spPr>
        <p:txBody>
          <a:bodyPr anchor="t"/>
          <a:lstStyle>
            <a:lvl1pPr>
              <a:defRPr sz="12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</a:t>
            </a:r>
            <a:r>
              <a:rPr lang="en-US"/>
              <a:t>.</a:t>
            </a:r>
          </a:p>
        </p:txBody>
      </p:sp>
      <p:sp>
        <p:nvSpPr>
          <p:cNvPr id="24" name="Parallelogram 23"/>
          <p:cNvSpPr/>
          <p:nvPr userDrawn="1"/>
        </p:nvSpPr>
        <p:spPr>
          <a:xfrm>
            <a:off x="2392470" y="2559542"/>
            <a:ext cx="805212" cy="800456"/>
          </a:xfrm>
          <a:prstGeom prst="parallelogram">
            <a:avLst>
              <a:gd name="adj" fmla="val 4909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Text Placeholder 5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09601" y="2671575"/>
            <a:ext cx="2377257" cy="576391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61" name="Rectangle 60"/>
          <p:cNvSpPr/>
          <p:nvPr userDrawn="1"/>
        </p:nvSpPr>
        <p:spPr>
          <a:xfrm>
            <a:off x="3302307" y="2559541"/>
            <a:ext cx="2740483" cy="3695210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2" name="Rectangle 61"/>
          <p:cNvSpPr/>
          <p:nvPr userDrawn="1"/>
        </p:nvSpPr>
        <p:spPr>
          <a:xfrm>
            <a:off x="6147415" y="2559541"/>
            <a:ext cx="2740483" cy="3695210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8992523" y="2559541"/>
            <a:ext cx="2740483" cy="3695210"/>
          </a:xfrm>
          <a:prstGeom prst="rect">
            <a:avLst/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4" name="Rectangle 63"/>
          <p:cNvSpPr/>
          <p:nvPr userDrawn="1"/>
        </p:nvSpPr>
        <p:spPr>
          <a:xfrm>
            <a:off x="3302307" y="2559542"/>
            <a:ext cx="2330480" cy="80045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5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3447312" y="3473181"/>
            <a:ext cx="2377257" cy="2572510"/>
          </a:xfrm>
          <a:prstGeom prst="rect">
            <a:avLst/>
          </a:prstGeom>
        </p:spPr>
        <p:txBody>
          <a:bodyPr anchor="t"/>
          <a:lstStyle>
            <a:lvl1pPr>
              <a:defRPr sz="12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</a:t>
            </a:r>
            <a:r>
              <a:rPr lang="en-US"/>
              <a:t>.</a:t>
            </a:r>
          </a:p>
        </p:txBody>
      </p:sp>
      <p:sp>
        <p:nvSpPr>
          <p:cNvPr id="66" name="Parallelogram 65"/>
          <p:cNvSpPr/>
          <p:nvPr userDrawn="1"/>
        </p:nvSpPr>
        <p:spPr>
          <a:xfrm>
            <a:off x="5230181" y="2559542"/>
            <a:ext cx="805212" cy="800456"/>
          </a:xfrm>
          <a:prstGeom prst="parallelogram">
            <a:avLst>
              <a:gd name="adj" fmla="val 4909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447312" y="2671575"/>
            <a:ext cx="2377257" cy="576391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68" name="Rectangle 67"/>
          <p:cNvSpPr/>
          <p:nvPr userDrawn="1"/>
        </p:nvSpPr>
        <p:spPr>
          <a:xfrm>
            <a:off x="6140018" y="2559542"/>
            <a:ext cx="2330480" cy="800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9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285023" y="3473181"/>
            <a:ext cx="2377257" cy="2572510"/>
          </a:xfrm>
          <a:prstGeom prst="rect">
            <a:avLst/>
          </a:prstGeom>
        </p:spPr>
        <p:txBody>
          <a:bodyPr anchor="t"/>
          <a:lstStyle>
            <a:lvl1pPr>
              <a:defRPr sz="12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</a:t>
            </a:r>
            <a:r>
              <a:rPr lang="en-US"/>
              <a:t>.</a:t>
            </a:r>
          </a:p>
        </p:txBody>
      </p:sp>
      <p:sp>
        <p:nvSpPr>
          <p:cNvPr id="70" name="Parallelogram 69"/>
          <p:cNvSpPr/>
          <p:nvPr userDrawn="1"/>
        </p:nvSpPr>
        <p:spPr>
          <a:xfrm>
            <a:off x="8067892" y="2559542"/>
            <a:ext cx="805212" cy="800456"/>
          </a:xfrm>
          <a:prstGeom prst="parallelogram">
            <a:avLst>
              <a:gd name="adj" fmla="val 4909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285023" y="2671575"/>
            <a:ext cx="2377257" cy="576391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72" name="Rectangle 71"/>
          <p:cNvSpPr/>
          <p:nvPr userDrawn="1"/>
        </p:nvSpPr>
        <p:spPr>
          <a:xfrm>
            <a:off x="9002048" y="2559542"/>
            <a:ext cx="2330480" cy="80045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73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9147053" y="3473181"/>
            <a:ext cx="2377257" cy="2572510"/>
          </a:xfrm>
          <a:prstGeom prst="rect">
            <a:avLst/>
          </a:prstGeom>
        </p:spPr>
        <p:txBody>
          <a:bodyPr anchor="t"/>
          <a:lstStyle>
            <a:lvl1pPr>
              <a:defRPr sz="12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</a:t>
            </a:r>
            <a:r>
              <a:rPr lang="en-US"/>
              <a:t>.</a:t>
            </a:r>
          </a:p>
        </p:txBody>
      </p:sp>
      <p:sp>
        <p:nvSpPr>
          <p:cNvPr id="74" name="Parallelogram 73"/>
          <p:cNvSpPr/>
          <p:nvPr userDrawn="1"/>
        </p:nvSpPr>
        <p:spPr>
          <a:xfrm>
            <a:off x="10929922" y="2559542"/>
            <a:ext cx="805212" cy="800456"/>
          </a:xfrm>
          <a:prstGeom prst="parallelogram">
            <a:avLst>
              <a:gd name="adj" fmla="val 4909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9147053" y="2671575"/>
            <a:ext cx="2377257" cy="576391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2251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aceholder fo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457201" y="3656214"/>
            <a:ext cx="11275805" cy="800456"/>
            <a:chOff x="457201" y="2058786"/>
            <a:chExt cx="11275805" cy="1233639"/>
          </a:xfrm>
        </p:grpSpPr>
        <p:sp>
          <p:nvSpPr>
            <p:cNvPr id="24" name="Rectangle 23"/>
            <p:cNvSpPr/>
            <p:nvPr userDrawn="1"/>
          </p:nvSpPr>
          <p:spPr>
            <a:xfrm>
              <a:off x="4097868" y="2058786"/>
              <a:ext cx="7635138" cy="123363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25" name="Parallelogram 24"/>
            <p:cNvSpPr/>
            <p:nvPr userDrawn="1"/>
          </p:nvSpPr>
          <p:spPr>
            <a:xfrm>
              <a:off x="3617383" y="2058786"/>
              <a:ext cx="960968" cy="1233639"/>
            </a:xfrm>
            <a:prstGeom prst="parallelogram">
              <a:avLst>
                <a:gd name="adj" fmla="val 490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1066800" y="2058786"/>
              <a:ext cx="3031067" cy="12336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457201" y="2058786"/>
              <a:ext cx="609599" cy="12336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457201" y="1943006"/>
            <a:ext cx="11275805" cy="800456"/>
            <a:chOff x="457201" y="3486665"/>
            <a:chExt cx="11275805" cy="1233639"/>
          </a:xfrm>
        </p:grpSpPr>
        <p:sp>
          <p:nvSpPr>
            <p:cNvPr id="28" name="Rectangle 27"/>
            <p:cNvSpPr/>
            <p:nvPr userDrawn="1"/>
          </p:nvSpPr>
          <p:spPr>
            <a:xfrm>
              <a:off x="4097868" y="3486665"/>
              <a:ext cx="7635138" cy="123363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29" name="Parallelogram 28"/>
            <p:cNvSpPr/>
            <p:nvPr userDrawn="1"/>
          </p:nvSpPr>
          <p:spPr>
            <a:xfrm>
              <a:off x="3617383" y="3486665"/>
              <a:ext cx="960968" cy="1233639"/>
            </a:xfrm>
            <a:prstGeom prst="parallelogram">
              <a:avLst>
                <a:gd name="adj" fmla="val 4909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066800" y="3486665"/>
              <a:ext cx="3031067" cy="123363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457201" y="3486665"/>
              <a:ext cx="609599" cy="123363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457201" y="2799610"/>
            <a:ext cx="11275805" cy="800456"/>
            <a:chOff x="457201" y="4914544"/>
            <a:chExt cx="11275805" cy="1233639"/>
          </a:xfrm>
        </p:grpSpPr>
        <p:sp>
          <p:nvSpPr>
            <p:cNvPr id="32" name="Rectangle 31"/>
            <p:cNvSpPr/>
            <p:nvPr userDrawn="1"/>
          </p:nvSpPr>
          <p:spPr>
            <a:xfrm>
              <a:off x="4097868" y="4914544"/>
              <a:ext cx="7635138" cy="123363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33" name="Parallelogram 32"/>
            <p:cNvSpPr/>
            <p:nvPr userDrawn="1"/>
          </p:nvSpPr>
          <p:spPr>
            <a:xfrm>
              <a:off x="3617383" y="4914544"/>
              <a:ext cx="960968" cy="1233639"/>
            </a:xfrm>
            <a:prstGeom prst="parallelogram">
              <a:avLst>
                <a:gd name="adj" fmla="val 4909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1066800" y="4914544"/>
              <a:ext cx="3031067" cy="12336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35" name="Rectangle 34"/>
            <p:cNvSpPr/>
            <p:nvPr userDrawn="1"/>
          </p:nvSpPr>
          <p:spPr>
            <a:xfrm>
              <a:off x="457201" y="4914544"/>
              <a:ext cx="609599" cy="12336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457201" y="4512818"/>
            <a:ext cx="11275805" cy="800456"/>
            <a:chOff x="457201" y="3486665"/>
            <a:chExt cx="11275805" cy="1233639"/>
          </a:xfrm>
        </p:grpSpPr>
        <p:sp>
          <p:nvSpPr>
            <p:cNvPr id="45" name="Rectangle 44"/>
            <p:cNvSpPr/>
            <p:nvPr userDrawn="1"/>
          </p:nvSpPr>
          <p:spPr>
            <a:xfrm>
              <a:off x="4097868" y="3486665"/>
              <a:ext cx="7635138" cy="123363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46" name="Parallelogram 45"/>
            <p:cNvSpPr/>
            <p:nvPr userDrawn="1"/>
          </p:nvSpPr>
          <p:spPr>
            <a:xfrm>
              <a:off x="3617383" y="3486665"/>
              <a:ext cx="960968" cy="1233639"/>
            </a:xfrm>
            <a:prstGeom prst="parallelogram">
              <a:avLst>
                <a:gd name="adj" fmla="val 4909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Rectangle 46"/>
            <p:cNvSpPr/>
            <p:nvPr userDrawn="1"/>
          </p:nvSpPr>
          <p:spPr>
            <a:xfrm>
              <a:off x="1066800" y="3486665"/>
              <a:ext cx="3031067" cy="123363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48" name="Rectangle 47"/>
            <p:cNvSpPr/>
            <p:nvPr userDrawn="1"/>
          </p:nvSpPr>
          <p:spPr>
            <a:xfrm>
              <a:off x="457201" y="3486665"/>
              <a:ext cx="609599" cy="123363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grpSp>
        <p:nvGrpSpPr>
          <p:cNvPr id="49" name="Group 48"/>
          <p:cNvGrpSpPr/>
          <p:nvPr userDrawn="1"/>
        </p:nvGrpSpPr>
        <p:grpSpPr>
          <a:xfrm>
            <a:off x="457201" y="5369423"/>
            <a:ext cx="11275805" cy="800456"/>
            <a:chOff x="457201" y="4914544"/>
            <a:chExt cx="11275805" cy="1233639"/>
          </a:xfrm>
        </p:grpSpPr>
        <p:sp>
          <p:nvSpPr>
            <p:cNvPr id="50" name="Rectangle 49"/>
            <p:cNvSpPr/>
            <p:nvPr userDrawn="1"/>
          </p:nvSpPr>
          <p:spPr>
            <a:xfrm>
              <a:off x="4097868" y="4914544"/>
              <a:ext cx="7635138" cy="123363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008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51" name="Parallelogram 50"/>
            <p:cNvSpPr/>
            <p:nvPr userDrawn="1"/>
          </p:nvSpPr>
          <p:spPr>
            <a:xfrm>
              <a:off x="3617383" y="4914544"/>
              <a:ext cx="960968" cy="1233639"/>
            </a:xfrm>
            <a:prstGeom prst="parallelogram">
              <a:avLst>
                <a:gd name="adj" fmla="val 4909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51"/>
            <p:cNvSpPr/>
            <p:nvPr userDrawn="1"/>
          </p:nvSpPr>
          <p:spPr>
            <a:xfrm>
              <a:off x="1066800" y="4914544"/>
              <a:ext cx="3031067" cy="12336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53" name="Rectangle 52"/>
            <p:cNvSpPr/>
            <p:nvPr userDrawn="1"/>
          </p:nvSpPr>
          <p:spPr>
            <a:xfrm>
              <a:off x="457201" y="4914544"/>
              <a:ext cx="609599" cy="12336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sp>
        <p:nvSpPr>
          <p:cNvPr id="5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019554"/>
            <a:ext cx="619763" cy="571440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IN"/>
          </a:p>
        </p:txBody>
      </p:sp>
      <p:sp>
        <p:nvSpPr>
          <p:cNvPr id="5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2055039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796526" y="2055039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2856546"/>
            <a:ext cx="619763" cy="571440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  <a:endParaRPr lang="en-IN"/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1219200" y="2919038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4796526" y="2919038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endParaRPr lang="en-US"/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57200" y="3671005"/>
            <a:ext cx="619763" cy="571440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  <a:endParaRPr lang="en-IN"/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1219200" y="3775642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62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96526" y="3775642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endParaRPr lang="en-US"/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57200" y="4514555"/>
            <a:ext cx="619763" cy="571440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  <a:endParaRPr lang="en-IN"/>
          </a:p>
        </p:txBody>
      </p:sp>
      <p:sp>
        <p:nvSpPr>
          <p:cNvPr id="64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1219200" y="4632246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65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4796526" y="4632246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endParaRPr lang="en-US"/>
          </a:p>
        </p:txBody>
      </p:sp>
      <p:sp>
        <p:nvSpPr>
          <p:cNvPr id="67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219200" y="5483537"/>
            <a:ext cx="3200400" cy="576391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68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4796526" y="5483537"/>
            <a:ext cx="6709673" cy="57639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endParaRPr lang="en-US"/>
          </a:p>
        </p:txBody>
      </p:sp>
      <p:sp>
        <p:nvSpPr>
          <p:cNvPr id="7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57200" y="5363404"/>
            <a:ext cx="619763" cy="571440"/>
          </a:xfrm>
          <a:prstGeom prst="rect">
            <a:avLst/>
          </a:prstGeo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81227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with Content for 4 Dimen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32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532744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846944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8310032" y="2532744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310032" y="1846944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38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906978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39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221178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8310032" y="4906978"/>
            <a:ext cx="3429000" cy="13716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4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8310032" y="4221178"/>
            <a:ext cx="3429000" cy="6858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44" name="Text Placeholder 22"/>
          <p:cNvSpPr>
            <a:spLocks noGrp="1"/>
          </p:cNvSpPr>
          <p:nvPr>
            <p:ph type="body" sz="quarter" idx="21" hasCustomPrompt="1"/>
          </p:nvPr>
        </p:nvSpPr>
        <p:spPr>
          <a:xfrm rot="19402216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5" name="Text Placeholder 22"/>
          <p:cNvSpPr>
            <a:spLocks noGrp="1"/>
          </p:cNvSpPr>
          <p:nvPr>
            <p:ph type="body" sz="quarter" idx="22" hasCustomPrompt="1"/>
          </p:nvPr>
        </p:nvSpPr>
        <p:spPr>
          <a:xfrm rot="1800000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6" name="Text Placeholder 22"/>
          <p:cNvSpPr>
            <a:spLocks noGrp="1"/>
          </p:cNvSpPr>
          <p:nvPr>
            <p:ph type="body" sz="quarter" idx="23" hasCustomPrompt="1"/>
          </p:nvPr>
        </p:nvSpPr>
        <p:spPr>
          <a:xfrm rot="12807123">
            <a:off x="4191001" y="4282055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4" hasCustomPrompt="1"/>
          </p:nvPr>
        </p:nvSpPr>
        <p:spPr>
          <a:xfrm rot="8786600">
            <a:off x="6423414" y="429229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31802278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with Content for 6 Dimen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57201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 baseline="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32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219326"/>
            <a:ext cx="3429000" cy="98428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905000"/>
            <a:ext cx="3429000" cy="30480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8310032" y="2223862"/>
            <a:ext cx="3429000" cy="96202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310032" y="1890486"/>
            <a:ext cx="3429000" cy="31432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24" name="Trapezoid 23"/>
          <p:cNvSpPr/>
          <p:nvPr userDrawn="1"/>
        </p:nvSpPr>
        <p:spPr>
          <a:xfrm rot="5400000">
            <a:off x="3635208" y="3211877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5" name="Trapezoid 24"/>
          <p:cNvSpPr/>
          <p:nvPr userDrawn="1"/>
        </p:nvSpPr>
        <p:spPr>
          <a:xfrm rot="9000000">
            <a:off x="4310915" y="2047217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6" name="Trapezoid 25"/>
          <p:cNvSpPr/>
          <p:nvPr userDrawn="1"/>
        </p:nvSpPr>
        <p:spPr>
          <a:xfrm rot="1800000">
            <a:off x="4309933" y="4375474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7" name="Trapezoid 26"/>
          <p:cNvSpPr/>
          <p:nvPr userDrawn="1"/>
        </p:nvSpPr>
        <p:spPr>
          <a:xfrm rot="16200000">
            <a:off x="6334282" y="3210814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8" name="Trapezoid 27"/>
          <p:cNvSpPr/>
          <p:nvPr userDrawn="1"/>
        </p:nvSpPr>
        <p:spPr>
          <a:xfrm rot="19800000">
            <a:off x="5658575" y="4375474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0" name="Trapezoid 29"/>
          <p:cNvSpPr/>
          <p:nvPr userDrawn="1"/>
        </p:nvSpPr>
        <p:spPr>
          <a:xfrm rot="12600000">
            <a:off x="5659557" y="2047217"/>
            <a:ext cx="2225271" cy="1155377"/>
          </a:xfrm>
          <a:prstGeom prst="trapezoid">
            <a:avLst>
              <a:gd name="adj" fmla="val 5747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1" hasCustomPrompt="1"/>
          </p:nvPr>
        </p:nvSpPr>
        <p:spPr>
          <a:xfrm rot="19743904">
            <a:off x="4636957" y="2049876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8" name="Text Placeholder 22"/>
          <p:cNvSpPr>
            <a:spLocks noGrp="1"/>
          </p:cNvSpPr>
          <p:nvPr>
            <p:ph type="body" sz="quarter" idx="22" hasCustomPrompt="1"/>
          </p:nvPr>
        </p:nvSpPr>
        <p:spPr>
          <a:xfrm rot="1803890">
            <a:off x="6059785" y="2072732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9" name="Text Placeholder 22"/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6758675" y="3339835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0" name="Text Placeholder 22"/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3880567" y="3284572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1" name="Text Placeholder 22"/>
          <p:cNvSpPr>
            <a:spLocks noGrp="1"/>
          </p:cNvSpPr>
          <p:nvPr>
            <p:ph type="body" sz="quarter" idx="25" hasCustomPrompt="1"/>
          </p:nvPr>
        </p:nvSpPr>
        <p:spPr>
          <a:xfrm rot="9000000">
            <a:off x="6071004" y="4517898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2" name="Text Placeholder 22"/>
          <p:cNvSpPr>
            <a:spLocks noGrp="1"/>
          </p:cNvSpPr>
          <p:nvPr>
            <p:ph type="body" sz="quarter" idx="26" hasCustomPrompt="1"/>
          </p:nvPr>
        </p:nvSpPr>
        <p:spPr>
          <a:xfrm rot="12600000">
            <a:off x="4616287" y="451789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44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" y="3754660"/>
            <a:ext cx="3429000" cy="98428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45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457200" y="3440334"/>
            <a:ext cx="3429000" cy="30480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8310032" y="3773710"/>
            <a:ext cx="3429000" cy="96202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53" name="Text Placeholder 22"/>
          <p:cNvSpPr>
            <a:spLocks noGrp="1"/>
          </p:cNvSpPr>
          <p:nvPr>
            <p:ph type="body" sz="quarter" idx="30" hasCustomPrompt="1"/>
          </p:nvPr>
        </p:nvSpPr>
        <p:spPr>
          <a:xfrm>
            <a:off x="8310032" y="3440334"/>
            <a:ext cx="3429000" cy="31432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1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457200" y="5295901"/>
            <a:ext cx="3429000" cy="98428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62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4981575"/>
            <a:ext cx="3429000" cy="30480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4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8310032" y="5314951"/>
            <a:ext cx="3429000" cy="96202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.</a:t>
            </a:r>
          </a:p>
        </p:txBody>
      </p:sp>
      <p:sp>
        <p:nvSpPr>
          <p:cNvPr id="65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8310032" y="4981575"/>
            <a:ext cx="3429000" cy="31432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</p:spTree>
    <p:extLst>
      <p:ext uri="{BB962C8B-B14F-4D97-AF65-F5344CB8AC3E}">
        <p14:creationId xmlns:p14="http://schemas.microsoft.com/office/powerpoint/2010/main" val="821328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6019800" y="3236646"/>
            <a:ext cx="0" cy="3621354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/>
          <p:cNvSpPr/>
          <p:nvPr userDrawn="1"/>
        </p:nvSpPr>
        <p:spPr>
          <a:xfrm>
            <a:off x="5486400" y="2703246"/>
            <a:ext cx="1066800" cy="1066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Oval 16"/>
          <p:cNvSpPr/>
          <p:nvPr userDrawn="1"/>
        </p:nvSpPr>
        <p:spPr>
          <a:xfrm>
            <a:off x="5486400" y="4472920"/>
            <a:ext cx="1066800" cy="1066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846684" y="2821877"/>
            <a:ext cx="2741202" cy="82953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657600" y="2988382"/>
            <a:ext cx="1535316" cy="496528"/>
          </a:xfrm>
          <a:prstGeom prst="rect">
            <a:avLst/>
          </a:prstGeom>
        </p:spPr>
        <p:txBody>
          <a:bodyPr/>
          <a:lstStyle>
            <a:lvl1pPr marL="0" indent="0" algn="r">
              <a:buClr>
                <a:srgbClr val="FF545F"/>
              </a:buClr>
              <a:buFont typeface="Arial" panose="020B0604020202020204" pitchFamily="34" charset="0"/>
              <a:buNone/>
              <a:defRPr sz="2800" baseline="30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Heading of 1st point</a:t>
            </a: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846684" y="4758056"/>
            <a:ext cx="1535316" cy="49652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2800" baseline="30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Heading of 1st point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451714" y="4591551"/>
            <a:ext cx="2741202" cy="82953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5764760" y="2977614"/>
            <a:ext cx="510080" cy="496528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8800" baseline="30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5764760" y="4757795"/>
            <a:ext cx="510080" cy="496528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8800" baseline="30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7" name="TextBox 3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39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445843"/>
            <a:ext cx="5525805" cy="533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IN"/>
              <a:t>Content slide title goes here</a:t>
            </a:r>
            <a:endParaRPr lang="en-US"/>
          </a:p>
        </p:txBody>
      </p:sp>
      <p:sp>
        <p:nvSpPr>
          <p:cNvPr id="4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22785"/>
            <a:ext cx="8153400" cy="5334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8984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steps contin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6019800" y="1"/>
            <a:ext cx="0" cy="6864349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/>
          <p:cNvSpPr/>
          <p:nvPr userDrawn="1"/>
        </p:nvSpPr>
        <p:spPr>
          <a:xfrm>
            <a:off x="5486400" y="1160463"/>
            <a:ext cx="1066800" cy="10668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Oval 16"/>
          <p:cNvSpPr/>
          <p:nvPr userDrawn="1"/>
        </p:nvSpPr>
        <p:spPr>
          <a:xfrm>
            <a:off x="5486400" y="2648170"/>
            <a:ext cx="1066800" cy="1066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846684" y="1279094"/>
            <a:ext cx="2741202" cy="82953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657600" y="1445599"/>
            <a:ext cx="1535316" cy="496528"/>
          </a:xfrm>
          <a:prstGeom prst="rect">
            <a:avLst/>
          </a:prstGeom>
        </p:spPr>
        <p:txBody>
          <a:bodyPr/>
          <a:lstStyle>
            <a:lvl1pPr marL="0" indent="0" algn="r">
              <a:buClr>
                <a:srgbClr val="FF545F"/>
              </a:buClr>
              <a:buFont typeface="Arial" panose="020B0604020202020204" pitchFamily="34" charset="0"/>
              <a:buNone/>
              <a:defRPr sz="2800" baseline="30000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Heading of 1st point</a:t>
            </a: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846684" y="2933306"/>
            <a:ext cx="1535316" cy="49652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2800" baseline="30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Heading of 1st point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451714" y="2766801"/>
            <a:ext cx="2741202" cy="82953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5764760" y="1434831"/>
            <a:ext cx="510080" cy="496528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8800" baseline="30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5764760" y="2933045"/>
            <a:ext cx="510080" cy="496528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8800" baseline="30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5486400" y="4254508"/>
            <a:ext cx="1066800" cy="1066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846684" y="4373139"/>
            <a:ext cx="2741202" cy="829538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</a:t>
            </a:r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3657600" y="4539644"/>
            <a:ext cx="1535316" cy="496528"/>
          </a:xfrm>
          <a:prstGeom prst="rect">
            <a:avLst/>
          </a:prstGeom>
        </p:spPr>
        <p:txBody>
          <a:bodyPr/>
          <a:lstStyle>
            <a:lvl1pPr marL="0" indent="0" algn="r">
              <a:buClr>
                <a:srgbClr val="FF545F"/>
              </a:buClr>
              <a:buFont typeface="Arial" panose="020B0604020202020204" pitchFamily="34" charset="0"/>
              <a:buNone/>
              <a:defRPr sz="2800" baseline="3000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Heading of 1st point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5764760" y="4528876"/>
            <a:ext cx="510080" cy="496528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rgbClr val="FF545F"/>
              </a:buClr>
              <a:buFont typeface="Arial" panose="020B0604020202020204" pitchFamily="34" charset="0"/>
              <a:buNone/>
              <a:defRPr sz="8800" baseline="30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9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2276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3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14600"/>
            <a:ext cx="6019800" cy="1371600"/>
          </a:xfrm>
          <a:prstGeom prst="rect">
            <a:avLst/>
          </a:prstGeom>
        </p:spPr>
        <p:txBody>
          <a:bodyPr/>
          <a:lstStyle>
            <a:lvl1pPr>
              <a:defRPr sz="8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ank you.</a:t>
            </a:r>
            <a:endParaRPr lang="en-IN"/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6262963"/>
            <a:ext cx="6019800" cy="249839"/>
          </a:xfrm>
          <a:prstGeom prst="rect">
            <a:avLst/>
          </a:prstGeom>
        </p:spPr>
        <p:txBody>
          <a:bodyPr/>
          <a:lstStyle>
            <a:lvl1pPr>
              <a:defRPr sz="8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IN"/>
              <a:t>® 2017 Copyright </a:t>
            </a:r>
            <a:r>
              <a:rPr lang="en-IN" err="1"/>
              <a:t>Genpact</a:t>
            </a:r>
            <a:r>
              <a:rPr lang="en-IN"/>
              <a:t>. All Rights Reserved.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5181600"/>
            <a:ext cx="2465644" cy="90710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3"/>
          <a:srcRect t="26190"/>
          <a:stretch/>
        </p:blipFill>
        <p:spPr>
          <a:xfrm>
            <a:off x="8001000" y="0"/>
            <a:ext cx="4191000" cy="430913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14600"/>
            <a:ext cx="6019800" cy="1371600"/>
          </a:xfrm>
          <a:prstGeom prst="rect">
            <a:avLst/>
          </a:prstGeom>
        </p:spPr>
        <p:txBody>
          <a:bodyPr/>
          <a:lstStyle>
            <a:lvl1pPr>
              <a:defRPr sz="88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hank you.</a:t>
            </a:r>
            <a:endParaRPr lang="en-IN"/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6262963"/>
            <a:ext cx="6019800" cy="249839"/>
          </a:xfrm>
          <a:prstGeom prst="rect">
            <a:avLst/>
          </a:prstGeom>
        </p:spPr>
        <p:txBody>
          <a:bodyPr/>
          <a:lstStyle>
            <a:lvl1pPr>
              <a:defRPr sz="80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IN"/>
              <a:t>® 2017 Copyright </a:t>
            </a:r>
            <a:r>
              <a:rPr lang="en-IN" err="1"/>
              <a:t>Genpact</a:t>
            </a:r>
            <a:r>
              <a:rPr lang="en-IN"/>
              <a:t>. All Rights Reserved.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5181600"/>
            <a:ext cx="2465644" cy="90710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3"/>
          <a:srcRect t="26190"/>
          <a:stretch/>
        </p:blipFill>
        <p:spPr>
          <a:xfrm>
            <a:off x="8001000" y="0"/>
            <a:ext cx="4191000" cy="4309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125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0"/>
            <a:ext cx="12188950" cy="685799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29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468090"/>
            <a:ext cx="3276600" cy="6096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Agenda opt 3</a:t>
            </a:r>
            <a:endParaRPr lang="en-IN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4" y="1828800"/>
            <a:ext cx="10283434" cy="3429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  <a:lvl2pPr>
              <a:defRPr sz="1800">
                <a:solidFill>
                  <a:srgbClr val="07326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					1</a:t>
            </a:r>
          </a:p>
          <a:p>
            <a:pPr lvl="2"/>
            <a:endParaRPr lang="en-US"/>
          </a:p>
        </p:txBody>
      </p:sp>
      <p:sp>
        <p:nvSpPr>
          <p:cNvPr id="41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42" name="TextBox 41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459247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14600"/>
            <a:ext cx="6019800" cy="1371600"/>
          </a:xfrm>
          <a:prstGeom prst="rect">
            <a:avLst/>
          </a:prstGeom>
        </p:spPr>
        <p:txBody>
          <a:bodyPr/>
          <a:lstStyle>
            <a:lvl1pPr>
              <a:defRPr sz="8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ank you.</a:t>
            </a:r>
            <a:endParaRPr lang="en-IN"/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6262963"/>
            <a:ext cx="6019800" cy="249839"/>
          </a:xfrm>
          <a:prstGeom prst="rect">
            <a:avLst/>
          </a:prstGeom>
        </p:spPr>
        <p:txBody>
          <a:bodyPr/>
          <a:lstStyle>
            <a:lvl1pPr>
              <a:defRPr sz="8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IN"/>
              <a:t>® 2017 Copyright </a:t>
            </a:r>
            <a:r>
              <a:rPr lang="en-IN" err="1"/>
              <a:t>Genpact</a:t>
            </a:r>
            <a:r>
              <a:rPr lang="en-IN"/>
              <a:t>. All Rights Reserved.</a:t>
            </a: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5181600"/>
            <a:ext cx="2465644" cy="907105"/>
          </a:xfrm>
          <a:prstGeom prst="rect">
            <a:avLst/>
          </a:prstGeom>
        </p:spPr>
      </p:pic>
      <p:sp>
        <p:nvSpPr>
          <p:cNvPr id="4" name="AutoShape 3"/>
          <p:cNvSpPr>
            <a:spLocks noChangeAspect="1" noChangeArrowheads="1" noTextEdit="1"/>
          </p:cNvSpPr>
          <p:nvPr userDrawn="1"/>
        </p:nvSpPr>
        <p:spPr bwMode="auto">
          <a:xfrm>
            <a:off x="6781800" y="5105400"/>
            <a:ext cx="2465388" cy="90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45" name="Picture 44"/>
          <p:cNvPicPr>
            <a:picLocks noChangeAspect="1"/>
          </p:cNvPicPr>
          <p:nvPr userDrawn="1"/>
        </p:nvPicPr>
        <p:blipFill rotWithShape="1">
          <a:blip r:embed="rId3"/>
          <a:srcRect t="26190"/>
          <a:stretch/>
        </p:blipFill>
        <p:spPr>
          <a:xfrm>
            <a:off x="8001000" y="0"/>
            <a:ext cx="4191000" cy="4309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1291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4067" y="380999"/>
            <a:ext cx="11463868" cy="5486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6371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9267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0885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018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4092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6922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2836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8609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7720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" y="0"/>
            <a:ext cx="12188948" cy="6872512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2473184"/>
            <a:ext cx="6397625" cy="1600200"/>
          </a:xfrm>
          <a:prstGeom prst="rect">
            <a:avLst/>
          </a:prstGeo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</a:lstStyle>
          <a:p>
            <a:r>
              <a:rPr lang="en-US" sz="4800">
                <a:solidFill>
                  <a:schemeClr val="bg1"/>
                </a:solidFill>
              </a:rPr>
              <a:t>Divider slide options Lorem ipsum dolo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ubtitle, if needed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02614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8063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6021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C74AC2-224E-4FE0-81B7-AA0DA37AF8CB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38912"/>
            <a:ext cx="2743200" cy="365125"/>
          </a:xfrm>
          <a:prstGeom prst="rect">
            <a:avLst/>
          </a:prstGeom>
        </p:spPr>
        <p:txBody>
          <a:bodyPr/>
          <a:lstStyle/>
          <a:p>
            <a:fld id="{62CFB2E9-634A-4FE5-AB04-ADA53FD03E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9127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2015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2933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6142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2511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0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3033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416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" y="0"/>
            <a:ext cx="12188946" cy="6872511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prstClr val="white"/>
                </a:solidFill>
                <a:latin typeface="+mn-lt"/>
              </a:rPr>
              <a:pPr/>
              <a:t>‹#›</a:t>
            </a:fld>
            <a:endParaRPr lang="en-US" b="1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prstClr val="white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prstClr val="white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prstClr val="white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2473184"/>
            <a:ext cx="6397625" cy="1600200"/>
          </a:xfrm>
          <a:prstGeom prst="rect">
            <a:avLst/>
          </a:prstGeo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</a:lstStyle>
          <a:p>
            <a:r>
              <a:rPr lang="en-US" sz="4800">
                <a:solidFill>
                  <a:schemeClr val="bg1"/>
                </a:solidFill>
              </a:rPr>
              <a:t>Divider slide options</a:t>
            </a:r>
          </a:p>
          <a:p>
            <a:r>
              <a:rPr lang="en-US" sz="4800">
                <a:solidFill>
                  <a:schemeClr val="bg1"/>
                </a:solidFill>
              </a:rPr>
              <a:t>Lorem ipsum dolo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ubtitle, if needed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555967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4979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3467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5244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624F20-CD95-4654-A3D3-99198BFDB87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16FB7CF-EA1B-40E2-BA64-EDD7BED34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539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42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7922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4784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5576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3941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487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" y="0"/>
            <a:ext cx="12188946" cy="6872510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bg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4594" y="2473184"/>
            <a:ext cx="6397625" cy="1600200"/>
          </a:xfrm>
          <a:prstGeom prst="rect">
            <a:avLst/>
          </a:prstGeo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 sz="4800">
                <a:solidFill>
                  <a:schemeClr val="bg1"/>
                </a:solidFill>
              </a:defRPr>
            </a:lvl3pPr>
            <a:lvl4pPr>
              <a:defRPr sz="4800">
                <a:solidFill>
                  <a:schemeClr val="bg1"/>
                </a:solidFill>
              </a:defRPr>
            </a:lvl4pPr>
            <a:lvl5pPr>
              <a:defRPr sz="4800">
                <a:solidFill>
                  <a:schemeClr val="bg1"/>
                </a:solidFill>
              </a:defRPr>
            </a:lvl5pPr>
          </a:lstStyle>
          <a:p>
            <a:r>
              <a:rPr lang="en-US" sz="4800">
                <a:solidFill>
                  <a:schemeClr val="bg1"/>
                </a:solidFill>
              </a:rPr>
              <a:t>Divider slide options Lorem ipsum dolo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ubtitle, if needed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035466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024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9278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3405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1133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CB3A26F-0FD9-4F80-840D-2ADC25D4C4AA}" type="datetimeFigureOut">
              <a:rPr lang="en-US" smtClean="0"/>
              <a:t>6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F761B51-6F66-479E-AB91-048BA308C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092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46"/>
          <a:stretch/>
        </p:blipFill>
        <p:spPr>
          <a:xfrm>
            <a:off x="6980347" y="0"/>
            <a:ext cx="5210123" cy="6872508"/>
          </a:xfrm>
          <a:prstGeom prst="rect">
            <a:avLst/>
          </a:prstGeom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4375" y="6446360"/>
            <a:ext cx="868156" cy="34072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4593" y="4267200"/>
            <a:ext cx="6397625" cy="381000"/>
          </a:xfrm>
          <a:prstGeom prst="rect">
            <a:avLst/>
          </a:prstGeom>
        </p:spPr>
        <p:txBody>
          <a:bodyPr anchor="ctr"/>
          <a:lstStyle>
            <a:lvl1pPr>
              <a:defRPr sz="1800">
                <a:solidFill>
                  <a:srgbClr val="073262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ubtitle, if needed</a:t>
            </a:r>
            <a:endParaRPr lang="en-IN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4118" y="2531240"/>
            <a:ext cx="7086600" cy="1447800"/>
          </a:xfrm>
          <a:prstGeom prst="rect">
            <a:avLst/>
          </a:prstGeom>
        </p:spPr>
        <p:txBody>
          <a:bodyPr anchor="ctr"/>
          <a:lstStyle>
            <a:lvl1pPr>
              <a:defRPr sz="4800">
                <a:solidFill>
                  <a:srgbClr val="073262"/>
                </a:solidFill>
              </a:defRPr>
            </a:lvl1pPr>
            <a:lvl2pPr>
              <a:defRPr sz="4800">
                <a:solidFill>
                  <a:schemeClr val="tx2"/>
                </a:solidFill>
              </a:defRPr>
            </a:lvl2pPr>
            <a:lvl3pPr>
              <a:defRPr sz="4800">
                <a:solidFill>
                  <a:schemeClr val="tx2"/>
                </a:solidFill>
              </a:defRPr>
            </a:lvl3pPr>
            <a:lvl4pPr>
              <a:defRPr sz="4800">
                <a:solidFill>
                  <a:schemeClr val="tx2"/>
                </a:solidFill>
              </a:defRPr>
            </a:lvl4pPr>
            <a:lvl5pPr>
              <a:defRPr sz="4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Divider slide options</a:t>
            </a:r>
          </a:p>
          <a:p>
            <a:pPr lvl="0"/>
            <a:r>
              <a:rPr lang="en-US"/>
              <a:t>Lorem ipsum dolor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5724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846944"/>
            <a:ext cx="11277600" cy="3892551"/>
          </a:xfrm>
          <a:prstGeom prst="rect">
            <a:avLst/>
          </a:prstGeom>
        </p:spPr>
        <p:txBody>
          <a:bodyPr anchor="t"/>
          <a:lstStyle>
            <a:lvl1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545F"/>
              </a:buClr>
              <a:buFont typeface="Wingdings" panose="05000000000000000000" pitchFamily="2" charset="2"/>
              <a:buChar char="§"/>
              <a:defRPr sz="1600">
                <a:solidFill>
                  <a:srgbClr val="06316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lr>
                <a:srgbClr val="EA3946"/>
              </a:buClr>
              <a:buFont typeface="Arial" panose="020B0604020202020204" pitchFamily="34" charset="0"/>
              <a:buChar char="•"/>
              <a:defRPr sz="1600">
                <a:solidFill>
                  <a:srgbClr val="063161"/>
                </a:solidFill>
              </a:defRPr>
            </a:lvl2pPr>
            <a:lvl3pPr marL="1200150" indent="-2857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Georgia" panose="02040502050405020303" pitchFamily="18" charset="0"/>
              <a:buChar char="─"/>
              <a:defRPr sz="1200">
                <a:solidFill>
                  <a:srgbClr val="063161"/>
                </a:solidFill>
              </a:defRPr>
            </a:lvl3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</a:t>
            </a:r>
          </a:p>
          <a:p>
            <a:pPr lvl="1"/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perspiciatis</a:t>
            </a:r>
            <a:r>
              <a:rPr lang="en-US"/>
              <a:t> </a:t>
            </a:r>
            <a:r>
              <a:rPr lang="en-US" err="1"/>
              <a:t>unde</a:t>
            </a:r>
            <a:r>
              <a:rPr lang="en-US"/>
              <a:t> </a:t>
            </a:r>
            <a:r>
              <a:rPr lang="en-US" err="1"/>
              <a:t>omnis</a:t>
            </a:r>
            <a:r>
              <a:rPr lang="en-US"/>
              <a:t> </a:t>
            </a:r>
            <a:r>
              <a:rPr lang="en-US" err="1"/>
              <a:t>iste</a:t>
            </a:r>
            <a:r>
              <a:rPr lang="en-US"/>
              <a:t> </a:t>
            </a:r>
            <a:r>
              <a:rPr lang="en-US" err="1"/>
              <a:t>natus</a:t>
            </a:r>
            <a:r>
              <a:rPr lang="en-US"/>
              <a:t> error sit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accusantium</a:t>
            </a:r>
            <a:r>
              <a:rPr lang="en-US"/>
              <a:t> </a:t>
            </a:r>
            <a:r>
              <a:rPr lang="en-US" err="1"/>
              <a:t>doloremque</a:t>
            </a:r>
            <a:r>
              <a:rPr lang="en-US"/>
              <a:t> </a:t>
            </a:r>
            <a:r>
              <a:rPr lang="en-US" err="1"/>
              <a:t>laudantium</a:t>
            </a:r>
            <a:r>
              <a:rPr lang="en-US"/>
              <a:t>.</a:t>
            </a:r>
          </a:p>
          <a:p>
            <a:pPr lvl="2"/>
            <a:r>
              <a:rPr lang="en-US" err="1"/>
              <a:t>Totam</a:t>
            </a:r>
            <a:r>
              <a:rPr lang="en-US"/>
              <a:t> rem </a:t>
            </a:r>
            <a:r>
              <a:rPr lang="en-US" err="1"/>
              <a:t>aperiam</a:t>
            </a:r>
            <a:r>
              <a:rPr lang="en-US"/>
              <a:t>, </a:t>
            </a:r>
            <a:r>
              <a:rPr lang="en-US" err="1"/>
              <a:t>eaque</a:t>
            </a:r>
            <a:r>
              <a:rPr lang="en-US"/>
              <a:t> </a:t>
            </a:r>
            <a:r>
              <a:rPr lang="en-US" err="1"/>
              <a:t>ipsa</a:t>
            </a:r>
            <a:r>
              <a:rPr lang="en-US"/>
              <a:t> quae ab </a:t>
            </a:r>
            <a:r>
              <a:rPr lang="en-US" err="1"/>
              <a:t>illo</a:t>
            </a:r>
            <a:r>
              <a:rPr lang="en-US"/>
              <a:t> </a:t>
            </a:r>
            <a:r>
              <a:rPr lang="en-US" err="1"/>
              <a:t>inventore</a:t>
            </a:r>
            <a:r>
              <a:rPr lang="en-US"/>
              <a:t> </a:t>
            </a:r>
            <a:r>
              <a:rPr lang="en-US" err="1"/>
              <a:t>veritatis</a:t>
            </a:r>
            <a:r>
              <a:rPr lang="en-US"/>
              <a:t> et quasi </a:t>
            </a:r>
            <a:r>
              <a:rPr lang="en-US" err="1"/>
              <a:t>architecto</a:t>
            </a:r>
            <a:r>
              <a:rPr lang="en-US"/>
              <a:t> </a:t>
            </a:r>
            <a:r>
              <a:rPr lang="en-US" err="1"/>
              <a:t>beatae</a:t>
            </a:r>
            <a:r>
              <a:rPr lang="en-US"/>
              <a:t> vitae dicta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explicabo</a:t>
            </a:r>
            <a:r>
              <a:rPr lang="en-US"/>
              <a:t>. Nemo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ipsam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voluptas</a:t>
            </a:r>
            <a:r>
              <a:rPr lang="en-US"/>
              <a:t> sit </a:t>
            </a:r>
            <a:r>
              <a:rPr lang="en-US" err="1"/>
              <a:t>aspernatur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odi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fugit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consequuntur</a:t>
            </a:r>
            <a:r>
              <a:rPr lang="en-US"/>
              <a:t> </a:t>
            </a:r>
            <a:r>
              <a:rPr lang="en-US" err="1"/>
              <a:t>magni</a:t>
            </a:r>
            <a:r>
              <a:rPr lang="en-US"/>
              <a:t> </a:t>
            </a:r>
            <a:r>
              <a:rPr lang="en-US" err="1"/>
              <a:t>dolores</a:t>
            </a:r>
            <a:r>
              <a:rPr lang="en-US"/>
              <a:t> </a:t>
            </a:r>
            <a:r>
              <a:rPr lang="en-US" err="1"/>
              <a:t>eos</a:t>
            </a:r>
            <a:endParaRPr lang="en-US"/>
          </a:p>
          <a:p>
            <a:pPr lvl="0"/>
            <a:r>
              <a:rPr lang="en-US"/>
              <a:t>Qui </a:t>
            </a:r>
            <a:r>
              <a:rPr lang="en-US" err="1"/>
              <a:t>ratione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 </a:t>
            </a:r>
            <a:r>
              <a:rPr lang="en-US" err="1"/>
              <a:t>sequi</a:t>
            </a:r>
            <a:r>
              <a:rPr lang="en-US"/>
              <a:t> </a:t>
            </a:r>
            <a:r>
              <a:rPr lang="en-US" err="1"/>
              <a:t>nesciunt</a:t>
            </a:r>
            <a:r>
              <a:rPr lang="en-US"/>
              <a:t>. </a:t>
            </a:r>
            <a:r>
              <a:rPr lang="en-US" err="1"/>
              <a:t>Neque</a:t>
            </a:r>
            <a:r>
              <a:rPr lang="en-US"/>
              <a:t> </a:t>
            </a:r>
            <a:r>
              <a:rPr lang="en-US" err="1"/>
              <a:t>porro</a:t>
            </a:r>
            <a:r>
              <a:rPr lang="en-US"/>
              <a:t> </a:t>
            </a:r>
            <a:r>
              <a:rPr lang="en-US" err="1"/>
              <a:t>quisquam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dolorem</a:t>
            </a:r>
            <a:r>
              <a:rPr lang="en-US"/>
              <a:t> ipsum </a:t>
            </a:r>
            <a:r>
              <a:rPr lang="en-US" err="1"/>
              <a:t>quia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, </a:t>
            </a:r>
            <a:r>
              <a:rPr lang="en-US" err="1"/>
              <a:t>adipisci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non </a:t>
            </a:r>
            <a:r>
              <a:rPr lang="en-US" err="1"/>
              <a:t>numquam</a:t>
            </a:r>
            <a:r>
              <a:rPr lang="en-US"/>
              <a:t> </a:t>
            </a:r>
            <a:r>
              <a:rPr lang="en-US" err="1"/>
              <a:t>eius</a:t>
            </a:r>
            <a:r>
              <a:rPr lang="en-US"/>
              <a:t> </a:t>
            </a:r>
            <a:r>
              <a:rPr lang="en-US" err="1"/>
              <a:t>modi</a:t>
            </a:r>
            <a:r>
              <a:rPr lang="en-US"/>
              <a:t> </a:t>
            </a:r>
            <a:r>
              <a:rPr lang="en-US" err="1"/>
              <a:t>tempora</a:t>
            </a:r>
            <a:r>
              <a:rPr lang="en-US"/>
              <a:t> </a:t>
            </a:r>
            <a:r>
              <a:rPr lang="en-US" err="1"/>
              <a:t>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</a:t>
            </a:r>
            <a:r>
              <a:rPr lang="en-US" err="1"/>
              <a:t>magnam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quaerat</a:t>
            </a:r>
            <a:r>
              <a:rPr lang="en-US"/>
              <a:t> </a:t>
            </a:r>
            <a:r>
              <a:rPr lang="en-US" err="1"/>
              <a:t>voluptatem</a:t>
            </a:r>
            <a:r>
              <a:rPr lang="en-US"/>
              <a:t>.</a:t>
            </a: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accent6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60744" y="471715"/>
            <a:ext cx="7235456" cy="533400"/>
          </a:xfrm>
          <a:prstGeom prst="rect">
            <a:avLst/>
          </a:prstGeom>
        </p:spPr>
        <p:txBody>
          <a:bodyPr anchor="ctr"/>
          <a:lstStyle>
            <a:lvl1pPr>
              <a:defRPr sz="30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976087"/>
            <a:ext cx="9673856" cy="533400"/>
          </a:xfrm>
          <a:prstGeom prst="rect">
            <a:avLst/>
          </a:prstGeom>
        </p:spPr>
        <p:txBody>
          <a:bodyPr anchor="ctr"/>
          <a:lstStyle>
            <a:lvl1pPr>
              <a:defRPr sz="2200">
                <a:solidFill>
                  <a:srgbClr val="06316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pos="288" userDrawn="1">
          <p15:clr>
            <a:srgbClr val="FBAE40"/>
          </p15:clr>
        </p15:guide>
        <p15:guide id="3" pos="7392" userDrawn="1">
          <p15:clr>
            <a:srgbClr val="FBAE40"/>
          </p15:clr>
        </p15:guide>
        <p15:guide id="5" orient="horz" pos="288" userDrawn="1">
          <p15:clr>
            <a:srgbClr val="FBAE40"/>
          </p15:clr>
        </p15:guide>
        <p15:guide id="6" orient="horz" pos="403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7.tiff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7.tiff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7.tif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679" r:id="rId2"/>
    <p:sldLayoutId id="2147483680" r:id="rId3"/>
    <p:sldLayoutId id="2147483681" r:id="rId4"/>
    <p:sldLayoutId id="2147483682" r:id="rId5"/>
    <p:sldLayoutId id="2147483720" r:id="rId6"/>
    <p:sldLayoutId id="2147483684" r:id="rId7"/>
    <p:sldLayoutId id="2147483685" r:id="rId8"/>
    <p:sldLayoutId id="2147483661" r:id="rId9"/>
    <p:sldLayoutId id="2147483686" r:id="rId10"/>
    <p:sldLayoutId id="2147483726" r:id="rId11"/>
    <p:sldLayoutId id="2147483687" r:id="rId12"/>
    <p:sldLayoutId id="2147483668" r:id="rId13"/>
    <p:sldLayoutId id="2147483727" r:id="rId14"/>
    <p:sldLayoutId id="2147483662" r:id="rId15"/>
    <p:sldLayoutId id="2147483667" r:id="rId16"/>
    <p:sldLayoutId id="2147483702" r:id="rId17"/>
    <p:sldLayoutId id="2147483704" r:id="rId18"/>
    <p:sldLayoutId id="2147483705" r:id="rId19"/>
    <p:sldLayoutId id="2147483670" r:id="rId20"/>
    <p:sldLayoutId id="2147483708" r:id="rId21"/>
    <p:sldLayoutId id="2147483711" r:id="rId22"/>
    <p:sldLayoutId id="2147483774" r:id="rId23"/>
    <p:sldLayoutId id="2147483775" r:id="rId24"/>
    <p:sldLayoutId id="2147483776" r:id="rId25"/>
    <p:sldLayoutId id="2147483777" r:id="rId26"/>
    <p:sldLayoutId id="2147483764" r:id="rId27"/>
    <p:sldLayoutId id="2147483765" r:id="rId28"/>
    <p:sldLayoutId id="2147483763" r:id="rId29"/>
    <p:sldLayoutId id="2147483766" r:id="rId30"/>
    <p:sldLayoutId id="2147483768" r:id="rId31"/>
    <p:sldLayoutId id="2147483769" r:id="rId32"/>
    <p:sldLayoutId id="2147483767" r:id="rId33"/>
    <p:sldLayoutId id="2147483770" r:id="rId34"/>
    <p:sldLayoutId id="2147483771" r:id="rId35"/>
    <p:sldLayoutId id="2147483772" r:id="rId36"/>
    <p:sldLayoutId id="2147483773" r:id="rId37"/>
    <p:sldLayoutId id="2147483665" r:id="rId38"/>
    <p:sldLayoutId id="2147483713" r:id="rId39"/>
    <p:sldLayoutId id="2147483712" r:id="rId40"/>
    <p:sldLayoutId id="2147483779" r:id="rId41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381000" y="6378434"/>
            <a:ext cx="275267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1050" err="1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105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09445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800" err="1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800">
                <a:solidFill>
                  <a:schemeClr val="accent6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4361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893034" y="6462131"/>
            <a:ext cx="839972" cy="3090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1000" y="6378434"/>
            <a:ext cx="275267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® 2017 Copyright </a:t>
            </a:r>
            <a:r>
              <a:rPr lang="en-US" sz="1050" err="1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Genpact</a:t>
            </a:r>
            <a:r>
              <a:rPr lang="en-US" sz="105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41051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slide" Target="slide25.xml"/><Relationship Id="rId1" Type="http://schemas.openxmlformats.org/officeDocument/2006/relationships/slideLayout" Target="../slideLayouts/slideLayout8.xml"/><Relationship Id="rId5" Type="http://schemas.openxmlformats.org/officeDocument/2006/relationships/slide" Target="slide9.xml"/><Relationship Id="rId4" Type="http://schemas.openxmlformats.org/officeDocument/2006/relationships/slide" Target="slide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3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048000" y="2819400"/>
            <a:ext cx="8305800" cy="1447800"/>
          </a:xfrm>
        </p:spPr>
        <p:txBody>
          <a:bodyPr/>
          <a:lstStyle/>
          <a:p>
            <a:pPr algn="l"/>
            <a:r>
              <a:rPr lang="en-US">
                <a:solidFill>
                  <a:schemeClr val="tx1"/>
                </a:solidFill>
              </a:rPr>
              <a:t>Employee Attendance  </a:t>
            </a:r>
          </a:p>
          <a:p>
            <a:pPr algn="l"/>
            <a:r>
              <a:rPr lang="en-US">
                <a:solidFill>
                  <a:schemeClr val="tx1"/>
                </a:solidFill>
              </a:rPr>
              <a:t>Management</a:t>
            </a:r>
          </a:p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7515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066800" y="533400"/>
            <a:ext cx="9593806" cy="609600"/>
          </a:xfrm>
        </p:spPr>
        <p:txBody>
          <a:bodyPr/>
          <a:lstStyle/>
          <a:p>
            <a:r>
              <a:rPr lang="en-US" sz="1800" b="1"/>
              <a:t>You can go to the new My Time Tool through following 2 ways: </a:t>
            </a:r>
          </a:p>
        </p:txBody>
      </p:sp>
      <p:sp>
        <p:nvSpPr>
          <p:cNvPr id="4" name="Snip Diagonal Corner Rectangle 3"/>
          <p:cNvSpPr/>
          <p:nvPr/>
        </p:nvSpPr>
        <p:spPr>
          <a:xfrm>
            <a:off x="464594" y="2506718"/>
            <a:ext cx="3040606" cy="1303282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y Time-India </a:t>
            </a:r>
          </a:p>
        </p:txBody>
      </p:sp>
      <p:sp>
        <p:nvSpPr>
          <p:cNvPr id="5" name="Snip Diagonal Corner Rectangle 4"/>
          <p:cNvSpPr/>
          <p:nvPr/>
        </p:nvSpPr>
        <p:spPr>
          <a:xfrm>
            <a:off x="6172200" y="2490952"/>
            <a:ext cx="3200400" cy="1319048"/>
          </a:xfrm>
          <a:prstGeom prst="snip2Diag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mployee Self Servic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594" y="4635062"/>
            <a:ext cx="4002424" cy="1219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3731" y="4648200"/>
            <a:ext cx="3906871" cy="113347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1676400" y="1752600"/>
            <a:ext cx="152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/>
              <a:t>1</a:t>
            </a:r>
          </a:p>
        </p:txBody>
      </p:sp>
      <p:sp>
        <p:nvSpPr>
          <p:cNvPr id="10" name="Rectangle 9"/>
          <p:cNvSpPr/>
          <p:nvPr/>
        </p:nvSpPr>
        <p:spPr>
          <a:xfrm>
            <a:off x="7522171" y="1721291"/>
            <a:ext cx="50045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249188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 txBox="1">
            <a:spLocks/>
          </p:cNvSpPr>
          <p:nvPr/>
        </p:nvSpPr>
        <p:spPr>
          <a:xfrm>
            <a:off x="329432" y="166326"/>
            <a:ext cx="9673856" cy="130084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kern="0"/>
              <a:t>Step 3.1.1</a:t>
            </a:r>
          </a:p>
          <a:p>
            <a:r>
              <a:rPr lang="en-US" sz="1600" b="1" u="sng" kern="0"/>
              <a:t>OPTION 1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kern="0"/>
              <a:t>Go to Too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kern="0"/>
              <a:t>Go on My Time-Indi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kern="0"/>
              <a:t>Enter SSO ID and Passwor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kern="0"/>
              <a:t>Click on Login to button to go to User home pag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kern="0"/>
          </a:p>
          <a:p>
            <a:endParaRPr lang="en-US" sz="1600" b="1" kern="0"/>
          </a:p>
        </p:txBody>
      </p:sp>
      <p:grpSp>
        <p:nvGrpSpPr>
          <p:cNvPr id="3" name="Group 2"/>
          <p:cNvGrpSpPr/>
          <p:nvPr/>
        </p:nvGrpSpPr>
        <p:grpSpPr>
          <a:xfrm>
            <a:off x="313666" y="1752600"/>
            <a:ext cx="10848003" cy="4691583"/>
            <a:chOff x="313666" y="1752600"/>
            <a:chExt cx="10848003" cy="4691583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3666" y="1752600"/>
              <a:ext cx="8964388" cy="3419475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pic>
          <p:nvPicPr>
            <p:cNvPr id="12" name="Picture 2" descr="cid:image001.jpg@01D3EDE2.55D8CDE0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20" t="17571" r="7106" b="11746"/>
            <a:stretch/>
          </p:blipFill>
          <p:spPr bwMode="auto">
            <a:xfrm>
              <a:off x="7239000" y="4572000"/>
              <a:ext cx="3922669" cy="1872183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ectangle 12"/>
            <p:cNvSpPr/>
            <p:nvPr/>
          </p:nvSpPr>
          <p:spPr>
            <a:xfrm>
              <a:off x="2286000" y="2286000"/>
              <a:ext cx="497477" cy="33759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836523" y="3472405"/>
              <a:ext cx="2250077" cy="71859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67059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 txBox="1">
            <a:spLocks/>
          </p:cNvSpPr>
          <p:nvPr/>
        </p:nvSpPr>
        <p:spPr>
          <a:xfrm>
            <a:off x="329432" y="166326"/>
            <a:ext cx="9673856" cy="130084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kern="0"/>
              <a:t>Step 3.1.2</a:t>
            </a:r>
          </a:p>
          <a:p>
            <a:r>
              <a:rPr lang="en-US" sz="1600" b="1" u="sng" kern="0"/>
              <a:t>OPTION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kern="0"/>
              <a:t>Go To Tool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kern="0"/>
              <a:t>Go on Employee Self Servic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kern="0"/>
              <a:t>Enter SSO ID and Passwor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kern="0"/>
              <a:t>Click on Login to button to go to User home pag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kern="0"/>
          </a:p>
          <a:p>
            <a:endParaRPr lang="en-US" sz="1600" b="1" kern="0"/>
          </a:p>
        </p:txBody>
      </p:sp>
      <p:grpSp>
        <p:nvGrpSpPr>
          <p:cNvPr id="10" name="Group 9"/>
          <p:cNvGrpSpPr/>
          <p:nvPr/>
        </p:nvGrpSpPr>
        <p:grpSpPr>
          <a:xfrm>
            <a:off x="344672" y="1676400"/>
            <a:ext cx="9027928" cy="3962400"/>
            <a:chOff x="1981200" y="2616926"/>
            <a:chExt cx="11658599" cy="247650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/>
            <a:srcRect l="-805" t="3125" r="805" b="6805"/>
            <a:stretch/>
          </p:blipFill>
          <p:spPr>
            <a:xfrm>
              <a:off x="1981200" y="2616926"/>
              <a:ext cx="11658599" cy="247650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7" name="Rectangle 6"/>
            <p:cNvSpPr/>
            <p:nvPr/>
          </p:nvSpPr>
          <p:spPr>
            <a:xfrm>
              <a:off x="7848600" y="4521926"/>
              <a:ext cx="2743200" cy="3810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6629400" y="3607526"/>
              <a:ext cx="374925" cy="175119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4703019" y="3150327"/>
              <a:ext cx="642438" cy="210997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2" descr="cid:image001.jpg@01D3EDE2.55D8CDE0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20" t="17571" r="7106" b="11746"/>
          <a:stretch/>
        </p:blipFill>
        <p:spPr bwMode="auto">
          <a:xfrm>
            <a:off x="7239000" y="4572000"/>
            <a:ext cx="3922669" cy="187218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76329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35974" y="0"/>
            <a:ext cx="11956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Step 3.1.3</a:t>
            </a:r>
            <a:r>
              <a:rPr lang="en-US" sz="1600" b="1">
                <a:solidFill>
                  <a:srgbClr val="FF0000"/>
                </a:solidFill>
              </a:rPr>
              <a:t> (</a:t>
            </a:r>
            <a:r>
              <a:rPr lang="en-US" sz="1600">
                <a:solidFill>
                  <a:srgbClr val="FF0000"/>
                </a:solidFill>
              </a:rPr>
              <a:t>Attendance regularization)</a:t>
            </a:r>
            <a:endParaRPr lang="en-US" sz="1600" b="1">
              <a:solidFill>
                <a:srgbClr val="FF0000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You can click on Navigator on home pag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Click on Genpact CM India Employee Self Servic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Go to My Tim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Click on  Apply leave and attendance request for attendance reques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b="9392"/>
          <a:stretch/>
        </p:blipFill>
        <p:spPr>
          <a:xfrm>
            <a:off x="990600" y="1532875"/>
            <a:ext cx="10668000" cy="44107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Rounded Rectangle 10"/>
          <p:cNvSpPr/>
          <p:nvPr/>
        </p:nvSpPr>
        <p:spPr>
          <a:xfrm>
            <a:off x="1143000" y="3733800"/>
            <a:ext cx="1600200" cy="2285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2902974" y="3642330"/>
            <a:ext cx="602226" cy="32007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4114800" y="3688064"/>
            <a:ext cx="1447800" cy="2743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990599" y="2118330"/>
            <a:ext cx="511917" cy="54867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7820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3779" y="40155"/>
            <a:ext cx="12192000" cy="730468"/>
          </a:xfrm>
          <a:solidFill>
            <a:srgbClr val="FFFF00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1600" b="1">
                <a:solidFill>
                  <a:schemeClr val="tx1"/>
                </a:solidFill>
              </a:rPr>
              <a:t>Step 3.1.4</a:t>
            </a:r>
            <a:br>
              <a:rPr lang="en-US" sz="1600" b="1">
                <a:solidFill>
                  <a:schemeClr val="tx1"/>
                </a:solidFill>
              </a:rPr>
            </a:br>
            <a:r>
              <a:rPr lang="en-US" sz="1600">
                <a:solidFill>
                  <a:schemeClr val="tx1"/>
                </a:solidFill>
              </a:rPr>
              <a:t>Click on ‘Apply for  Leave/Attendance Management”  to Apply </a:t>
            </a:r>
            <a:r>
              <a:rPr lang="en-US" sz="1600">
                <a:solidFill>
                  <a:srgbClr val="FF0000"/>
                </a:solidFill>
              </a:rPr>
              <a:t>Attendance reques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b="9816"/>
          <a:stretch/>
        </p:blipFill>
        <p:spPr>
          <a:xfrm>
            <a:off x="350640" y="1043153"/>
            <a:ext cx="11688960" cy="490044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" name="Rectangle 2"/>
          <p:cNvSpPr/>
          <p:nvPr/>
        </p:nvSpPr>
        <p:spPr>
          <a:xfrm>
            <a:off x="762000" y="4572000"/>
            <a:ext cx="2286000" cy="381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261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326113" y="77899"/>
            <a:ext cx="1055764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/>
              <a:t>Step 3.1.5</a:t>
            </a:r>
          </a:p>
          <a:p>
            <a:endParaRPr lang="en-US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Select Attendance Type as IN Attendance Req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Select appropriate attendance Reason from the drop down in absence reas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Enter Start Date and End Date in </a:t>
            </a:r>
            <a:r>
              <a:rPr lang="en-US" sz="1600" b="1">
                <a:cs typeface="Arial" pitchFamily="34" charset="0"/>
              </a:rPr>
              <a:t>DD-MMM-YYYY</a:t>
            </a:r>
            <a:r>
              <a:rPr lang="en-US" sz="1600">
                <a:cs typeface="Arial" pitchFamily="34" charset="0"/>
              </a:rPr>
              <a:t> (12-May-2018) format on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cs typeface="Arial" pitchFamily="34" charset="0"/>
              </a:rPr>
              <a:t>Click on total box with cursor blinking. Then click on calculate du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Calculate Duration - </a:t>
            </a:r>
            <a:r>
              <a:rPr lang="en-US" sz="1600">
                <a:cs typeface="Arial" pitchFamily="34" charset="0"/>
              </a:rPr>
              <a:t>The number of attendance days will be calculated automatic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Click on Nex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562" t="12500" r="3733" b="14583"/>
          <a:stretch/>
        </p:blipFill>
        <p:spPr>
          <a:xfrm>
            <a:off x="152400" y="2085974"/>
            <a:ext cx="8763000" cy="39338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85800" y="3505200"/>
            <a:ext cx="7391400" cy="251459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23645" t="43750" r="63470" b="44792"/>
          <a:stretch/>
        </p:blipFill>
        <p:spPr>
          <a:xfrm>
            <a:off x="8498327" y="3633786"/>
            <a:ext cx="1676401" cy="838200"/>
          </a:xfrm>
          <a:prstGeom prst="rect">
            <a:avLst/>
          </a:prstGeom>
        </p:spPr>
      </p:pic>
      <p:cxnSp>
        <p:nvCxnSpPr>
          <p:cNvPr id="22" name="Straight Arrow Connector 21"/>
          <p:cNvCxnSpPr/>
          <p:nvPr/>
        </p:nvCxnSpPr>
        <p:spPr>
          <a:xfrm>
            <a:off x="3429000" y="3962400"/>
            <a:ext cx="5029200" cy="0"/>
          </a:xfrm>
          <a:prstGeom prst="straightConnector1">
            <a:avLst/>
          </a:prstGeom>
          <a:ln w="38100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/>
          <a:srcRect l="23645" t="38541" r="59370" b="6251"/>
          <a:stretch/>
        </p:blipFill>
        <p:spPr>
          <a:xfrm>
            <a:off x="10287000" y="3665211"/>
            <a:ext cx="1705304" cy="3116589"/>
          </a:xfrm>
          <a:prstGeom prst="rect">
            <a:avLst/>
          </a:prstGeom>
        </p:spPr>
      </p:pic>
      <p:cxnSp>
        <p:nvCxnSpPr>
          <p:cNvPr id="23" name="Elbow Connector 22"/>
          <p:cNvCxnSpPr/>
          <p:nvPr/>
        </p:nvCxnSpPr>
        <p:spPr>
          <a:xfrm>
            <a:off x="3810000" y="4191000"/>
            <a:ext cx="6364728" cy="1032505"/>
          </a:xfrm>
          <a:prstGeom prst="bentConnector3">
            <a:avLst>
              <a:gd name="adj1" fmla="val 57431"/>
            </a:avLst>
          </a:prstGeom>
          <a:ln w="38100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8498327" y="2590800"/>
            <a:ext cx="417073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3987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372171"/>
            <a:ext cx="12192000" cy="408476"/>
          </a:xfrm>
          <a:solidFill>
            <a:srgbClr val="00B0F0"/>
          </a:solidFill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earned leave - review</a:t>
            </a: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417689" y="63137"/>
            <a:ext cx="9673856" cy="10265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kern="0">
                <a:latin typeface="+mj-lt"/>
              </a:rPr>
              <a:t>Step 3.1.6 </a:t>
            </a:r>
          </a:p>
          <a:p>
            <a:endParaRPr lang="en-US" sz="1600" b="1" kern="0"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600">
                <a:latin typeface="+mj-lt"/>
                <a:cs typeface="Arial" pitchFamily="34" charset="0"/>
              </a:rPr>
              <a:t>You will come to the review page which will show you the </a:t>
            </a:r>
            <a:r>
              <a:rPr lang="en-US" sz="1600" b="1">
                <a:latin typeface="+mj-lt"/>
                <a:cs typeface="Arial" pitchFamily="34" charset="0"/>
              </a:rPr>
              <a:t>Absence</a:t>
            </a:r>
            <a:r>
              <a:rPr lang="en-US" sz="1600">
                <a:latin typeface="+mj-lt"/>
                <a:cs typeface="Arial" pitchFamily="34" charset="0"/>
              </a:rPr>
              <a:t> </a:t>
            </a:r>
            <a:r>
              <a:rPr lang="en-US" sz="1600" b="1">
                <a:latin typeface="+mj-lt"/>
                <a:cs typeface="Arial" pitchFamily="34" charset="0"/>
              </a:rPr>
              <a:t>Status, Absence Type, Absence Category, Absence Reason, Start-End Date, Days of Absence</a:t>
            </a:r>
            <a:r>
              <a:rPr lang="en-US" sz="1600">
                <a:latin typeface="+mj-lt"/>
                <a:cs typeface="Arial" pitchFamily="34" charset="0"/>
              </a:rPr>
              <a:t>. </a:t>
            </a:r>
          </a:p>
          <a:p>
            <a:endParaRPr lang="en-US" sz="1600">
              <a:latin typeface="+mj-lt"/>
              <a:cs typeface="Arial" pitchFamily="34" charset="0"/>
            </a:endParaRPr>
          </a:p>
          <a:p>
            <a:r>
              <a:rPr lang="en-US" sz="1600" b="1">
                <a:latin typeface="+mj-lt"/>
                <a:cs typeface="Arial" pitchFamily="34" charset="0"/>
              </a:rPr>
              <a:t>Note: </a:t>
            </a:r>
            <a:r>
              <a:rPr lang="en-US" sz="1600">
                <a:latin typeface="+mj-lt"/>
                <a:cs typeface="Arial" pitchFamily="34" charset="0"/>
              </a:rPr>
              <a:t>At this stage, if you want to make changes, you could click </a:t>
            </a:r>
            <a:r>
              <a:rPr lang="en-US" sz="1600" b="1">
                <a:latin typeface="+mj-lt"/>
                <a:cs typeface="Arial" pitchFamily="34" charset="0"/>
              </a:rPr>
              <a:t>Back</a:t>
            </a:r>
            <a:r>
              <a:rPr lang="en-US" sz="1600">
                <a:latin typeface="+mj-lt"/>
                <a:cs typeface="Arial" pitchFamily="34" charset="0"/>
              </a:rPr>
              <a:t> to go back to the previous screen  or  click </a:t>
            </a:r>
            <a:r>
              <a:rPr lang="en-US" sz="1600" b="1">
                <a:latin typeface="+mj-lt"/>
                <a:cs typeface="Arial" pitchFamily="34" charset="0"/>
              </a:rPr>
              <a:t>Submit.</a:t>
            </a:r>
          </a:p>
          <a:p>
            <a:endParaRPr lang="en-US" sz="1600" b="1" kern="0">
              <a:latin typeface="+mj-lt"/>
            </a:endParaRPr>
          </a:p>
          <a:p>
            <a:endParaRPr lang="en-US" sz="1600" b="1" kern="0">
              <a:latin typeface="+mj-lt"/>
            </a:endParaRPr>
          </a:p>
          <a:p>
            <a:endParaRPr lang="en-US" sz="1600" b="1" kern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13541" r="1391" b="9375"/>
          <a:stretch/>
        </p:blipFill>
        <p:spPr>
          <a:xfrm>
            <a:off x="228600" y="1981200"/>
            <a:ext cx="11734800" cy="441959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33400" y="3352800"/>
            <a:ext cx="6400800" cy="1752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0668000" y="2514600"/>
            <a:ext cx="1066800" cy="3048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2450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387937"/>
            <a:ext cx="12192000" cy="408476"/>
          </a:xfrm>
          <a:solidFill>
            <a:srgbClr val="00B0F0"/>
          </a:solidFill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APPLY MATERNITY LEAVE </a:t>
            </a: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533400" y="181428"/>
            <a:ext cx="11506200" cy="149380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kern="0"/>
              <a:t>Step 3.1.7</a:t>
            </a:r>
          </a:p>
          <a:p>
            <a:endParaRPr lang="en-US" sz="1600" b="1" ker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You can also scroll down in order to Verify the approver before submitting the request if needed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The approver name is the employee supervisor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Click on </a:t>
            </a:r>
            <a:r>
              <a:rPr lang="en-US" sz="1600" b="1"/>
              <a:t>“Submit</a:t>
            </a:r>
            <a:r>
              <a:rPr lang="en-US" sz="1600"/>
              <a:t>” button to complete attendance request.</a:t>
            </a:r>
          </a:p>
          <a:p>
            <a:endParaRPr lang="en-US" sz="1600" b="1" kern="0"/>
          </a:p>
          <a:p>
            <a:endParaRPr lang="en-US" sz="1600" b="1" ker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1976" t="12420" r="2562" b="12499"/>
          <a:stretch/>
        </p:blipFill>
        <p:spPr>
          <a:xfrm>
            <a:off x="304800" y="1675236"/>
            <a:ext cx="11582400" cy="4976287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04800" y="3276600"/>
            <a:ext cx="11430000" cy="1752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4140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372170"/>
            <a:ext cx="11963400" cy="1151829"/>
          </a:xfrm>
          <a:solidFill>
            <a:srgbClr val="00B0F0"/>
          </a:solidFill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Apply earned leave – submission confirmation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09600" y="119137"/>
            <a:ext cx="10363200" cy="102108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kern="0"/>
              <a:t>Step 3.1.8</a:t>
            </a:r>
          </a:p>
          <a:p>
            <a:endParaRPr lang="en-US" sz="1600" b="1" kern="0"/>
          </a:p>
          <a:p>
            <a:r>
              <a:rPr lang="en-US" sz="1600" b="1" kern="0"/>
              <a:t> </a:t>
            </a:r>
            <a:r>
              <a:rPr lang="en-US" sz="1600">
                <a:cs typeface="Arial" pitchFamily="34" charset="0"/>
              </a:rPr>
              <a:t>You can see that the attendance has been submitted for approval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2563" t="13541" r="3147" b="10417"/>
          <a:stretch/>
        </p:blipFill>
        <p:spPr>
          <a:xfrm>
            <a:off x="457200" y="990600"/>
            <a:ext cx="11277600" cy="533399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57200" y="1523999"/>
            <a:ext cx="3276600" cy="6096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9396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5974" y="0"/>
            <a:ext cx="11956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Step 3.1.9 </a:t>
            </a:r>
            <a:r>
              <a:rPr lang="en-US" sz="1600" b="1">
                <a:solidFill>
                  <a:srgbClr val="FF0000"/>
                </a:solidFill>
              </a:rPr>
              <a:t>(</a:t>
            </a:r>
            <a:r>
              <a:rPr lang="en-US" sz="1600">
                <a:solidFill>
                  <a:srgbClr val="FF0000"/>
                </a:solidFill>
              </a:rPr>
              <a:t>Attendance correction)</a:t>
            </a:r>
            <a:endParaRPr lang="en-US" sz="1600" b="1">
              <a:solidFill>
                <a:srgbClr val="FF0000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You can click on Navigator on home pag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Click on Genpact CM India Employee Self Servic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Go to My Tim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Click on  Attendance correc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9392"/>
          <a:stretch/>
        </p:blipFill>
        <p:spPr>
          <a:xfrm>
            <a:off x="990600" y="1532875"/>
            <a:ext cx="10668000" cy="44107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Rounded Rectangle 4"/>
          <p:cNvSpPr/>
          <p:nvPr/>
        </p:nvSpPr>
        <p:spPr>
          <a:xfrm>
            <a:off x="1143000" y="3733800"/>
            <a:ext cx="1600200" cy="2285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2902974" y="3642330"/>
            <a:ext cx="602226" cy="32007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4038600" y="4191000"/>
            <a:ext cx="1447800" cy="2743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990599" y="2118330"/>
            <a:ext cx="511917" cy="54867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075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152399" y="200027"/>
            <a:ext cx="6775450" cy="609600"/>
          </a:xfrm>
          <a:prstGeom prst="rect">
            <a:avLst/>
          </a:prstGeom>
        </p:spPr>
        <p:txBody>
          <a:bodyPr/>
          <a:lstStyle/>
          <a:p>
            <a:r>
              <a:rPr lang="en-US" sz="2400">
                <a:solidFill>
                  <a:schemeClr val="tx1"/>
                </a:solidFill>
              </a:rPr>
              <a:t>Table Of Contents 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63278" y="1200510"/>
            <a:ext cx="3005603" cy="4495800"/>
            <a:chOff x="575638" y="934660"/>
            <a:chExt cx="2853202" cy="3088707"/>
          </a:xfrm>
        </p:grpSpPr>
        <p:grpSp>
          <p:nvGrpSpPr>
            <p:cNvPr id="23" name="Group 22"/>
            <p:cNvGrpSpPr/>
            <p:nvPr/>
          </p:nvGrpSpPr>
          <p:grpSpPr>
            <a:xfrm>
              <a:off x="575638" y="2458660"/>
              <a:ext cx="2853202" cy="1564707"/>
              <a:chOff x="7731753" y="3801772"/>
              <a:chExt cx="2226227" cy="1727479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7731754" y="3801772"/>
                <a:ext cx="2226226" cy="757747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7731753" y="4771504"/>
                <a:ext cx="2226226" cy="757747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>
                    <a:hlinkClick r:id="rId2" action="ppaction://hlinksldjump"/>
                  </a:rPr>
                  <a:t>Attendance Report</a:t>
                </a:r>
                <a:endParaRPr lang="en-US" sz="1600"/>
              </a:p>
            </p:txBody>
          </p:sp>
        </p:grpSp>
        <p:sp>
          <p:nvSpPr>
            <p:cNvPr id="26" name="Rectangle 25"/>
            <p:cNvSpPr/>
            <p:nvPr/>
          </p:nvSpPr>
          <p:spPr>
            <a:xfrm>
              <a:off x="575640" y="1709802"/>
              <a:ext cx="2819400" cy="571606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hlinkClick r:id="rId3" action="ppaction://hlinksldjump"/>
                </a:rPr>
                <a:t>Process Flow</a:t>
              </a:r>
              <a:endParaRPr lang="en-US" sz="160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75640" y="934660"/>
              <a:ext cx="2819400" cy="571606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hlinkClick r:id="rId4" action="ppaction://hlinksldjump"/>
                </a:rPr>
                <a:t>Introduction</a:t>
              </a:r>
              <a:endParaRPr lang="en-US" sz="1600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939764" y="2600958"/>
              <a:ext cx="2091150" cy="4017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  <a:hlinkClick r:id="rId5" action="ppaction://hlinksldjump"/>
                </a:rPr>
                <a:t>Attendance Request / </a:t>
              </a:r>
            </a:p>
            <a:p>
              <a:pPr algn="ctr"/>
              <a:r>
                <a:rPr lang="en-US" sz="1600">
                  <a:solidFill>
                    <a:schemeClr val="bg1"/>
                  </a:solidFill>
                  <a:hlinkClick r:id="rId5" action="ppaction://hlinksldjump"/>
                </a:rPr>
                <a:t>Correction</a:t>
              </a:r>
              <a:endParaRPr lang="en-US" sz="1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8833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41960" y="521732"/>
            <a:ext cx="259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  <a:p>
            <a:r>
              <a:rPr lang="en-US"/>
              <a:t>Click on “Add” button</a:t>
            </a:r>
          </a:p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57200" y="152400"/>
            <a:ext cx="14526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/>
              <a:t>Step 3.1.10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00200"/>
            <a:ext cx="11430000" cy="401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2950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Step 3.1.11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64067" y="838200"/>
            <a:ext cx="9601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ogged in employee OHR will automatically refle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elect the date for which Attendance  needs to be upda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ovide the reason to update the atten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lick on apply button</a:t>
            </a:r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476500"/>
            <a:ext cx="11074400" cy="34671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61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Step 3.1.12</a:t>
            </a:r>
            <a:br>
              <a:rPr lang="en-US"/>
            </a:br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394547" y="929639"/>
            <a:ext cx="5486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 new row will be added as shown with ‘Status’ as ‘New’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elect ‘Next’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re  can Correction/cancel/request</a:t>
            </a:r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2332354"/>
            <a:ext cx="10210800" cy="36874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7966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Step 3.1.13</a:t>
            </a:r>
            <a:br>
              <a:rPr lang="en-US"/>
            </a:b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64067" y="929638"/>
            <a:ext cx="80179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  <a:p>
            <a:r>
              <a:rPr lang="en-US" sz="1600"/>
              <a:t>Review the ‘Proposed’ information and click on ‘Submit’ button.</a:t>
            </a:r>
          </a:p>
          <a:p>
            <a:endParaRPr lang="en-US"/>
          </a:p>
        </p:txBody>
      </p:sp>
      <p:pic>
        <p:nvPicPr>
          <p:cNvPr id="5" name="Picture 4"/>
          <p:cNvPicPr/>
          <p:nvPr/>
        </p:nvPicPr>
        <p:blipFill rotWithShape="1">
          <a:blip r:embed="rId2"/>
          <a:srcRect t="7696" b="29019"/>
          <a:stretch/>
        </p:blipFill>
        <p:spPr bwMode="auto">
          <a:xfrm>
            <a:off x="304800" y="1752600"/>
            <a:ext cx="11734800" cy="4114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1277600" y="2343152"/>
            <a:ext cx="414336" cy="25762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4680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Step 3.1.14</a:t>
            </a:r>
            <a:br>
              <a:rPr lang="en-US"/>
            </a:b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79307" y="929639"/>
            <a:ext cx="113707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A confirmation message will be displayed for request submission, and the same will be routed to supervisor approv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ost supervisor approval, Attendance will be updated next day and the same can be checked in employee’s ‘Attendance report’</a:t>
            </a:r>
          </a:p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861" y="2314634"/>
            <a:ext cx="10677421" cy="399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57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3.2 How to pull your Attendance report?</a:t>
            </a:r>
          </a:p>
          <a:p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533400" y="3886200"/>
            <a:ext cx="716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Note: Data from 20</a:t>
            </a:r>
            <a:r>
              <a:rPr lang="en-US" baseline="30000"/>
              <a:t>th</a:t>
            </a:r>
            <a:r>
              <a:rPr lang="en-US"/>
              <a:t> May Onwards will be visible in the report</a:t>
            </a:r>
          </a:p>
        </p:txBody>
      </p:sp>
    </p:spTree>
    <p:extLst>
      <p:ext uri="{BB962C8B-B14F-4D97-AF65-F5344CB8AC3E}">
        <p14:creationId xmlns:p14="http://schemas.microsoft.com/office/powerpoint/2010/main" val="12582636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35974" y="0"/>
            <a:ext cx="11956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Step 3.2.1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You can click on Navigator on home pag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Click on </a:t>
            </a:r>
            <a:r>
              <a:rPr lang="en-US" sz="1600" err="1"/>
              <a:t>Genpact</a:t>
            </a:r>
            <a:r>
              <a:rPr lang="en-US" sz="1600"/>
              <a:t> India Employee Self Servic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Go to My Tim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/>
              <a:t>Click on  Employee attendance repor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532875"/>
            <a:ext cx="10668000" cy="4867926"/>
          </a:xfrm>
          <a:prstGeom prst="rect">
            <a:avLst/>
          </a:prstGeom>
        </p:spPr>
      </p:pic>
      <p:sp>
        <p:nvSpPr>
          <p:cNvPr id="11" name="Rounded Rectangle 10"/>
          <p:cNvSpPr/>
          <p:nvPr/>
        </p:nvSpPr>
        <p:spPr>
          <a:xfrm>
            <a:off x="1143000" y="3733800"/>
            <a:ext cx="1600200" cy="2285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2902974" y="3642330"/>
            <a:ext cx="602226" cy="32007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4114800" y="3962400"/>
            <a:ext cx="1447800" cy="2743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990599" y="2118330"/>
            <a:ext cx="511917" cy="54867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4946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372171"/>
            <a:ext cx="12192000" cy="408476"/>
          </a:xfrm>
          <a:solidFill>
            <a:srgbClr val="00B0F0"/>
          </a:solidFill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Employee’s attendance re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" y="180371"/>
            <a:ext cx="1017926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/>
              <a:t>Step 3.2.2</a:t>
            </a:r>
          </a:p>
          <a:p>
            <a:endParaRPr lang="en-US" sz="1600" b="1"/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/>
              <a:t>Select the month for which the attendance needs to be checked.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/>
              <a:t>Select current calendar year in “Year” field.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/>
              <a:t>Click on “Continue” button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600"/>
          </a:p>
        </p:txBody>
      </p:sp>
      <p:grpSp>
        <p:nvGrpSpPr>
          <p:cNvPr id="6" name="Group 5"/>
          <p:cNvGrpSpPr/>
          <p:nvPr/>
        </p:nvGrpSpPr>
        <p:grpSpPr>
          <a:xfrm>
            <a:off x="206265" y="1750031"/>
            <a:ext cx="11757135" cy="4574569"/>
            <a:chOff x="990600" y="1929103"/>
            <a:chExt cx="10210800" cy="4776497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3"/>
            <a:srcRect t="18771" b="3536"/>
            <a:stretch/>
          </p:blipFill>
          <p:spPr>
            <a:xfrm>
              <a:off x="990600" y="1929103"/>
              <a:ext cx="10210800" cy="4776497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5" name="Rectangle 4"/>
            <p:cNvSpPr/>
            <p:nvPr/>
          </p:nvSpPr>
          <p:spPr>
            <a:xfrm flipV="1">
              <a:off x="10287000" y="2895600"/>
              <a:ext cx="685800" cy="381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265" y="1750031"/>
            <a:ext cx="1393935" cy="512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892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372171"/>
            <a:ext cx="12192000" cy="408476"/>
          </a:xfrm>
          <a:solidFill>
            <a:srgbClr val="00B0F0"/>
          </a:solidFill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Employee’s attendance report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200" y="36614"/>
            <a:ext cx="249780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/>
              <a:t>Step 3.2.3</a:t>
            </a:r>
          </a:p>
          <a:p>
            <a:endParaRPr lang="en-US" sz="1600"/>
          </a:p>
          <a:p>
            <a:r>
              <a:rPr lang="en-US" sz="1600"/>
              <a:t>Click on ‘</a:t>
            </a:r>
            <a:r>
              <a:rPr lang="en-US" sz="1600" b="1"/>
              <a:t>Submit’</a:t>
            </a:r>
            <a:r>
              <a:rPr lang="en-US" sz="1600"/>
              <a:t> butt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28600" y="1366775"/>
            <a:ext cx="11811000" cy="4896002"/>
            <a:chOff x="84083" y="1994481"/>
            <a:chExt cx="12192000" cy="570328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083" y="1994481"/>
              <a:ext cx="12192000" cy="570328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4" name="Rectangle 3"/>
            <p:cNvSpPr/>
            <p:nvPr/>
          </p:nvSpPr>
          <p:spPr>
            <a:xfrm>
              <a:off x="11519338" y="3142217"/>
              <a:ext cx="525709" cy="453185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601" y="1352398"/>
            <a:ext cx="1295400" cy="497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8385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4800" y="1600200"/>
            <a:ext cx="11658600" cy="4800600"/>
            <a:chOff x="0" y="780647"/>
            <a:chExt cx="12192000" cy="4257675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780647"/>
              <a:ext cx="12192000" cy="4257675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5" name="Rectangle 4"/>
            <p:cNvSpPr/>
            <p:nvPr/>
          </p:nvSpPr>
          <p:spPr>
            <a:xfrm>
              <a:off x="8478982" y="2818447"/>
              <a:ext cx="515389" cy="51888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5"/>
          <p:cNvSpPr/>
          <p:nvPr/>
        </p:nvSpPr>
        <p:spPr>
          <a:xfrm>
            <a:off x="609600" y="0"/>
            <a:ext cx="2133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/>
              <a:t>Step 3.2.4</a:t>
            </a:r>
          </a:p>
          <a:p>
            <a:endParaRPr lang="en-US" sz="1600"/>
          </a:p>
          <a:p>
            <a:r>
              <a:rPr lang="en-US" sz="1600"/>
              <a:t>Click </a:t>
            </a:r>
            <a:r>
              <a:rPr lang="en-US" sz="1600" b="1"/>
              <a:t>‘OK’</a:t>
            </a:r>
          </a:p>
        </p:txBody>
      </p:sp>
    </p:spTree>
    <p:extLst>
      <p:ext uri="{BB962C8B-B14F-4D97-AF65-F5344CB8AC3E}">
        <p14:creationId xmlns:p14="http://schemas.microsoft.com/office/powerpoint/2010/main" val="517235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1. Introduction</a:t>
            </a:r>
          </a:p>
        </p:txBody>
      </p:sp>
    </p:spTree>
    <p:extLst>
      <p:ext uri="{BB962C8B-B14F-4D97-AF65-F5344CB8AC3E}">
        <p14:creationId xmlns:p14="http://schemas.microsoft.com/office/powerpoint/2010/main" val="14303439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8402" y="1115524"/>
            <a:ext cx="11228234" cy="356488"/>
          </a:xfrm>
          <a:solidFill>
            <a:srgbClr val="00B0F0"/>
          </a:solidFill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Employee’s attendance report</a:t>
            </a:r>
          </a:p>
        </p:txBody>
      </p:sp>
      <p:sp>
        <p:nvSpPr>
          <p:cNvPr id="7" name="Rectangle 6"/>
          <p:cNvSpPr/>
          <p:nvPr/>
        </p:nvSpPr>
        <p:spPr>
          <a:xfrm>
            <a:off x="533400" y="43157"/>
            <a:ext cx="1152879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/>
              <a:t>Step 3.2.5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/>
              <a:t>Click on ‘Output’ icon to View the report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/>
          </a:p>
          <a:p>
            <a:r>
              <a:rPr lang="en-US" sz="1600"/>
              <a:t>Note - In case the output icon is blank, click on ‘refresh’ icon (follow Arrow) to generate the output. Once the output is displayed, click on the same to check the attendance report.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45479" y="1756347"/>
            <a:ext cx="11362520" cy="4644453"/>
            <a:chOff x="345479" y="1756347"/>
            <a:chExt cx="11277600" cy="4824632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5479" y="1756347"/>
              <a:ext cx="11277600" cy="4824632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grpSp>
          <p:nvGrpSpPr>
            <p:cNvPr id="9" name="Group 8"/>
            <p:cNvGrpSpPr/>
            <p:nvPr/>
          </p:nvGrpSpPr>
          <p:grpSpPr>
            <a:xfrm>
              <a:off x="1295400" y="3124199"/>
              <a:ext cx="8855224" cy="990601"/>
              <a:chOff x="1295400" y="3124199"/>
              <a:chExt cx="8855224" cy="990601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1295400" y="3124199"/>
                <a:ext cx="8855224" cy="990601"/>
                <a:chOff x="987153" y="2381346"/>
                <a:chExt cx="9615306" cy="1135065"/>
              </a:xfrm>
            </p:grpSpPr>
            <p:sp>
              <p:nvSpPr>
                <p:cNvPr id="4" name="Rectangle 3"/>
                <p:cNvSpPr/>
                <p:nvPr/>
              </p:nvSpPr>
              <p:spPr>
                <a:xfrm>
                  <a:off x="9923135" y="3254473"/>
                  <a:ext cx="679324" cy="261938"/>
                </a:xfrm>
                <a:prstGeom prst="rect">
                  <a:avLst/>
                </a:prstGeom>
                <a:noFill/>
                <a:ln w="28575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" name="Down Arrow 4"/>
                <p:cNvSpPr/>
                <p:nvPr/>
              </p:nvSpPr>
              <p:spPr>
                <a:xfrm>
                  <a:off x="987153" y="2381346"/>
                  <a:ext cx="182881" cy="249382"/>
                </a:xfrm>
                <a:prstGeom prst="downArrow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8" name="Rectangle 7"/>
              <p:cNvSpPr/>
              <p:nvPr/>
            </p:nvSpPr>
            <p:spPr>
              <a:xfrm>
                <a:off x="1295400" y="3384224"/>
                <a:ext cx="320824" cy="273376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453" y="1748973"/>
            <a:ext cx="1306340" cy="470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10135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372171"/>
            <a:ext cx="12192000" cy="408476"/>
          </a:xfrm>
          <a:solidFill>
            <a:srgbClr val="00B0F0"/>
          </a:solidFill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Employee’s attendance report</a:t>
            </a:r>
          </a:p>
        </p:txBody>
      </p:sp>
      <p:sp>
        <p:nvSpPr>
          <p:cNvPr id="2" name="Rectangle 1"/>
          <p:cNvSpPr/>
          <p:nvPr/>
        </p:nvSpPr>
        <p:spPr>
          <a:xfrm>
            <a:off x="531989" y="0"/>
            <a:ext cx="121158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/>
              <a:t>Step 3.2.6</a:t>
            </a:r>
          </a:p>
          <a:p>
            <a:endParaRPr lang="en-US" sz="1600" b="1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The report will show employee’s selected month’s attendance details along with Earned Leave balance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990600"/>
            <a:ext cx="9934575" cy="479107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643653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57740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7999011-5E88-4292-90DE-CC6ADC3553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52400"/>
            <a:ext cx="7235456" cy="533400"/>
          </a:xfrm>
        </p:spPr>
        <p:txBody>
          <a:bodyPr/>
          <a:lstStyle/>
          <a:p>
            <a:r>
              <a:rPr lang="en-US" sz="1600" b="1" kern="1200">
                <a:solidFill>
                  <a:schemeClr val="tx1"/>
                </a:solidFill>
                <a:latin typeface="+mn-lt"/>
              </a:rPr>
              <a:t>1.1 Overview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4800" y="1219200"/>
            <a:ext cx="11734799" cy="346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With the implementation of the new My Time Tool, you would have an  automated system to apply for attendance regularization/correction.</a:t>
            </a:r>
          </a:p>
          <a:p>
            <a:endParaRPr lang="en-US" sz="1600"/>
          </a:p>
          <a:p>
            <a:r>
              <a:rPr lang="en-US" sz="1600"/>
              <a:t>This tool would allow you to:</a:t>
            </a:r>
          </a:p>
          <a:p>
            <a:endParaRPr lang="en-US" sz="160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Apply for attendance regularization from any location, via internet or intranet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View attendance requisition history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View status of  applied request .i.e. approved/Rejected/In progres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Minimize the possibility of error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/>
              <a:t>Will provide a single platform to your supervisor to take actions on the attendance requests received</a:t>
            </a:r>
          </a:p>
          <a:p>
            <a:endParaRPr lang="en-US" sz="1900">
              <a:ea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07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533400" y="609600"/>
            <a:ext cx="106680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1.2 Learning Objectives</a:t>
            </a:r>
          </a:p>
          <a:p>
            <a:endParaRPr lang="en-US"/>
          </a:p>
          <a:p>
            <a:r>
              <a:rPr lang="en-US"/>
              <a:t>After completing this module you will be able to do the following: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iew and Apply for Attendance Requests/corr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rrect your  attendance, subject to manager’s approv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heck your leave request status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 b="1"/>
              <a:t>1.3 Technological Requirements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aptop/Deskt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ternet/Intra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ccess to Genpact CM India Employee Self Service &gt; My Time Tool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188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2.1 Process Flow</a:t>
            </a:r>
          </a:p>
        </p:txBody>
      </p:sp>
    </p:spTree>
    <p:extLst>
      <p:ext uri="{BB962C8B-B14F-4D97-AF65-F5344CB8AC3E}">
        <p14:creationId xmlns:p14="http://schemas.microsoft.com/office/powerpoint/2010/main" val="24675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33400" y="228600"/>
            <a:ext cx="44534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/>
              <a:t>2.1 Attendance Application Process Flow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450549350"/>
              </p:ext>
            </p:extLst>
          </p:nvPr>
        </p:nvGraphicFramePr>
        <p:xfrm>
          <a:off x="381000" y="1676400"/>
          <a:ext cx="11430000" cy="4492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260227" y="1905000"/>
            <a:ext cx="8657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/>
              <a:t>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22917" y="1821359"/>
            <a:ext cx="8657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/>
              <a:t>3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904262" y="1745159"/>
            <a:ext cx="8657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/>
              <a:t>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141572" y="1897559"/>
            <a:ext cx="8657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1838545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61294" y="151578"/>
            <a:ext cx="8146006" cy="751110"/>
          </a:xfrm>
        </p:spPr>
        <p:txBody>
          <a:bodyPr/>
          <a:lstStyle/>
          <a:p>
            <a:r>
              <a:rPr lang="en-US" sz="1600" b="1"/>
              <a:t> 2.1.2 Scenarios for Attendance  Managemen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18160" y="971416"/>
            <a:ext cx="6096000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Acquisitions and Re-Badg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Assessment Centers/External Exam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Backdate on-Board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Bulk Move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Business Move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Card not brough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Changing Build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Client Holida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Client Sit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Comp Off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Employee on Ben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Employee on NHO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Employee on Suspension / Exited Emp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IT Issu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Internal Transf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Local Trave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Loss of Car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OJT / Offsite / Out Du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Part Tim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Process </a:t>
            </a:r>
            <a:r>
              <a:rPr lang="en-US" sz="1600" err="1"/>
              <a:t>Movt</a:t>
            </a:r>
            <a:r>
              <a:rPr lang="en-US" sz="1600"/>
              <a:t>/Assign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Seminar / Trai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Week Off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/>
              <a:t>Work From Hom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404360" y="1034857"/>
            <a:ext cx="2971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Loss of  ca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Back Dated WF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Client holiday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On site Project</a:t>
            </a:r>
          </a:p>
          <a:p>
            <a:endParaRPr lang="en-US" sz="1600"/>
          </a:p>
        </p:txBody>
      </p:sp>
      <p:sp>
        <p:nvSpPr>
          <p:cNvPr id="6" name="TextBox 5"/>
          <p:cNvSpPr txBox="1"/>
          <p:nvPr/>
        </p:nvSpPr>
        <p:spPr>
          <a:xfrm>
            <a:off x="7229147" y="1161565"/>
            <a:ext cx="32864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Applied for Leave on a future Date, but need to cancel the request</a:t>
            </a:r>
          </a:p>
        </p:txBody>
      </p:sp>
      <p:sp>
        <p:nvSpPr>
          <p:cNvPr id="7" name="Rectangle 6"/>
          <p:cNvSpPr/>
          <p:nvPr/>
        </p:nvSpPr>
        <p:spPr>
          <a:xfrm>
            <a:off x="533400" y="533400"/>
            <a:ext cx="2743200" cy="438016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ttendance Request</a:t>
            </a:r>
          </a:p>
        </p:txBody>
      </p:sp>
      <p:sp>
        <p:nvSpPr>
          <p:cNvPr id="8" name="Rectangle 7"/>
          <p:cNvSpPr/>
          <p:nvPr/>
        </p:nvSpPr>
        <p:spPr>
          <a:xfrm>
            <a:off x="4124161" y="534942"/>
            <a:ext cx="2745828" cy="4295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ttendance Correc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7391400" y="534942"/>
            <a:ext cx="2745827" cy="49445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ttendance Cancellation</a:t>
            </a:r>
          </a:p>
        </p:txBody>
      </p:sp>
    </p:spTree>
    <p:extLst>
      <p:ext uri="{BB962C8B-B14F-4D97-AF65-F5344CB8AC3E}">
        <p14:creationId xmlns:p14="http://schemas.microsoft.com/office/powerpoint/2010/main" val="27873497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04800" y="2209800"/>
            <a:ext cx="7620000" cy="1447800"/>
          </a:xfrm>
        </p:spPr>
        <p:txBody>
          <a:bodyPr/>
          <a:lstStyle/>
          <a:p>
            <a:r>
              <a:rPr lang="en-US"/>
              <a:t>3.1 How do I regularize / Correct my  attendance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4114800"/>
            <a:ext cx="6934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00000"/>
                </a:solidFill>
              </a:rPr>
              <a:t>Attendance regularization should be selected if you are requesting for attendance regularization within 15 days of date of transaction</a:t>
            </a:r>
          </a:p>
          <a:p>
            <a:endParaRPr lang="en-US">
              <a:solidFill>
                <a:srgbClr val="000000"/>
              </a:solidFill>
            </a:endParaRPr>
          </a:p>
          <a:p>
            <a:r>
              <a:rPr lang="en-US">
                <a:solidFill>
                  <a:srgbClr val="000000"/>
                </a:solidFill>
              </a:rPr>
              <a:t>Attendance correction should be selected if you are requesting for attendance approval post 15 days of date of transaction</a:t>
            </a:r>
          </a:p>
        </p:txBody>
      </p:sp>
    </p:spTree>
    <p:extLst>
      <p:ext uri="{BB962C8B-B14F-4D97-AF65-F5344CB8AC3E}">
        <p14:creationId xmlns:p14="http://schemas.microsoft.com/office/powerpoint/2010/main" val="661179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enpact Transformation">
      <a:dk1>
        <a:srgbClr val="073262"/>
      </a:dk1>
      <a:lt1>
        <a:sysClr val="window" lastClr="FFFFFF"/>
      </a:lt1>
      <a:dk2>
        <a:srgbClr val="EBECED"/>
      </a:dk2>
      <a:lt2>
        <a:srgbClr val="BFC0C1"/>
      </a:lt2>
      <a:accent1>
        <a:srgbClr val="FF555F"/>
      </a:accent1>
      <a:accent2>
        <a:srgbClr val="00AECF"/>
      </a:accent2>
      <a:accent3>
        <a:srgbClr val="073262"/>
      </a:accent3>
      <a:accent4>
        <a:srgbClr val="EA3946"/>
      </a:accent4>
      <a:accent5>
        <a:srgbClr val="60C7D7"/>
      </a:accent5>
      <a:accent6>
        <a:srgbClr val="073262"/>
      </a:accent6>
      <a:hlink>
        <a:srgbClr val="60C7D7"/>
      </a:hlink>
      <a:folHlink>
        <a:srgbClr val="1F497D"/>
      </a:folHlink>
    </a:clrScheme>
    <a:fontScheme name="G PPT 2017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D3EA49611CBE46A5B57C5520ABC14E" ma:contentTypeVersion="4" ma:contentTypeDescription="Create a new document." ma:contentTypeScope="" ma:versionID="885f0ffce492d25eb6137ea6564821ac">
  <xsd:schema xmlns:xsd="http://www.w3.org/2001/XMLSchema" xmlns:xs="http://www.w3.org/2001/XMLSchema" xmlns:p="http://schemas.microsoft.com/office/2006/metadata/properties" xmlns:ns2="4755bf37-dc98-4a2e-8a87-2f1f69854104" xmlns:ns3="b4d50e3b-7aed-4384-a845-f14dbfd79c04" targetNamespace="http://schemas.microsoft.com/office/2006/metadata/properties" ma:root="true" ma:fieldsID="f44ff9a321977280902d2e1720a891c8" ns2:_="" ns3:_="">
    <xsd:import namespace="4755bf37-dc98-4a2e-8a87-2f1f69854104"/>
    <xsd:import namespace="b4d50e3b-7aed-4384-a845-f14dbfd79c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55bf37-dc98-4a2e-8a87-2f1f698541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d50e3b-7aed-4384-a845-f14dbfd79c0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4d50e3b-7aed-4384-a845-f14dbfd79c04">
      <UserInfo>
        <DisplayName>Kumar, Punit KP</DisplayName>
        <AccountId>94241</AccountId>
        <AccountType/>
      </UserInfo>
      <UserInfo>
        <DisplayName>Kapoor, Kapil LR</DisplayName>
        <AccountId>17156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CED24C-F701-4730-8600-1639B0C7B38B}">
  <ds:schemaRefs>
    <ds:schemaRef ds:uri="4755bf37-dc98-4a2e-8a87-2f1f69854104"/>
    <ds:schemaRef ds:uri="b4d50e3b-7aed-4384-a845-f14dbfd79c0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8FA2156-28A9-401B-AF18-4586E042D708}">
  <ds:schemaRefs>
    <ds:schemaRef ds:uri="372e849b-fc60-49fc-88ef-6f6a3a7352cc"/>
    <ds:schemaRef ds:uri="7955fe41-16ae-489b-bb6d-2dd9b2d28296"/>
    <ds:schemaRef ds:uri="b4d50e3b-7aed-4384-a845-f14dbfd79c04"/>
    <ds:schemaRef ds:uri="b7a58cbc-cd1f-4316-8e97-a0bb4c57e2d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F9F5582-2E7C-484E-A056-ED8FF10BDF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32</Slides>
  <Notes>16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32</vt:i4>
      </vt:variant>
    </vt:vector>
  </HeadingPairs>
  <TitlesOfParts>
    <vt:vector size="36" baseType="lpstr">
      <vt:lpstr>Blank</vt:lpstr>
      <vt:lpstr>2_Custom Design</vt:lpstr>
      <vt:lpstr>1_Custom Design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ep 3.1.4 Click on ‘Apply for  Leave/Attendance Management”  to Apply Attendance request</vt:lpstr>
      <vt:lpstr>PowerPoint Presentation</vt:lpstr>
      <vt:lpstr>earned leave - review</vt:lpstr>
      <vt:lpstr>APPLY MATERNITY LEAVE </vt:lpstr>
      <vt:lpstr>Apply earned leave – submission confirmation</vt:lpstr>
      <vt:lpstr>PowerPoint Presentation</vt:lpstr>
      <vt:lpstr>PowerPoint Presentation</vt:lpstr>
      <vt:lpstr>Step 3.1.11  </vt:lpstr>
      <vt:lpstr>Step 3.1.12 </vt:lpstr>
      <vt:lpstr>Step 3.1.13 </vt:lpstr>
      <vt:lpstr>Step 3.1.14 </vt:lpstr>
      <vt:lpstr>PowerPoint Presentation</vt:lpstr>
      <vt:lpstr>PowerPoint Presentation</vt:lpstr>
      <vt:lpstr>Employee’s attendance report</vt:lpstr>
      <vt:lpstr>Employee’s attendance report</vt:lpstr>
      <vt:lpstr>PowerPoint Presentation</vt:lpstr>
      <vt:lpstr>Employee’s attendance report</vt:lpstr>
      <vt:lpstr>Employee’s attendance repor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ble of</dc:title>
  <dc:creator>Das H.S, Hemanth</dc:creator>
  <cp:revision>3</cp:revision>
  <dcterms:created xsi:type="dcterms:W3CDTF">2017-09-11T16:52:07Z</dcterms:created>
  <dcterms:modified xsi:type="dcterms:W3CDTF">2019-06-06T12:4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9-11T00:00:00Z</vt:filetime>
  </property>
  <property fmtid="{D5CDD505-2E9C-101B-9397-08002B2CF9AE}" pid="3" name="Creator">
    <vt:lpwstr>Adobe InDesign CC 2017 (Windows)</vt:lpwstr>
  </property>
  <property fmtid="{D5CDD505-2E9C-101B-9397-08002B2CF9AE}" pid="4" name="LastSaved">
    <vt:filetime>2017-09-11T00:00:00Z</vt:filetime>
  </property>
  <property fmtid="{D5CDD505-2E9C-101B-9397-08002B2CF9AE}" pid="5" name="ContentTypeId">
    <vt:lpwstr>0x0101001AD3EA49611CBE46A5B57C5520ABC14E</vt:lpwstr>
  </property>
  <property fmtid="{D5CDD505-2E9C-101B-9397-08002B2CF9AE}" pid="6" name="TaxKeyword">
    <vt:lpwstr/>
  </property>
  <property fmtid="{D5CDD505-2E9C-101B-9397-08002B2CF9AE}" pid="7" name="Tag">
    <vt:lpwstr/>
  </property>
</Properties>
</file>